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4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5.xml" ContentType="application/vnd.openxmlformats-officedocument.theme+xml"/>
  <Override PartName="/ppt/tags/tag10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6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7.xml" ContentType="application/vnd.openxmlformats-officedocument.theme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8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9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10.xml" ContentType="application/vnd.openxmlformats-officedocument.theme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11.xml" ContentType="application/vnd.openxmlformats-officedocument.theme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12.xml" ContentType="application/vnd.openxmlformats-officedocument.theme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13.xml" ContentType="application/vnd.openxmlformats-officedocument.theme+xml"/>
  <Override PartName="/ppt/tags/tag11.xml" ContentType="application/vnd.openxmlformats-officedocument.presentationml.tags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14.xml" ContentType="application/vnd.openxmlformats-officedocument.theme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15.xml" ContentType="application/vnd.openxmlformats-officedocument.theme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16.xml" ContentType="application/vnd.openxmlformats-officedocument.theme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17.xml" ContentType="application/vnd.openxmlformats-officedocument.theme+xml"/>
  <Override PartName="/ppt/tags/tag12.xml" ContentType="application/vnd.openxmlformats-officedocument.presentationml.tags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18.xml" ContentType="application/vnd.openxmlformats-officedocument.theme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19.xml" ContentType="application/vnd.openxmlformats-officedocument.theme+xml"/>
  <Override PartName="/ppt/tags/tag13.xml" ContentType="application/vnd.openxmlformats-officedocument.presentationml.tags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20.xml" ContentType="application/vnd.openxmlformats-officedocument.theme+xml"/>
  <Override PartName="/ppt/theme/theme21.xml" ContentType="application/vnd.openxmlformats-officedocument.theme+xml"/>
  <Override PartName="/ppt/theme/theme2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1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43" r:id="rId4"/>
    <p:sldMasterId id="2147483978" r:id="rId5"/>
    <p:sldMasterId id="2147483983" r:id="rId6"/>
    <p:sldMasterId id="2147483993" r:id="rId7"/>
    <p:sldMasterId id="2147483998" r:id="rId8"/>
    <p:sldMasterId id="2147484004" r:id="rId9"/>
    <p:sldMasterId id="2147484028" r:id="rId10"/>
    <p:sldMasterId id="2147484035" r:id="rId11"/>
    <p:sldMasterId id="2147484042" r:id="rId12"/>
    <p:sldMasterId id="2147484048" r:id="rId13"/>
    <p:sldMasterId id="2147484054" r:id="rId14"/>
    <p:sldMasterId id="2147484061" r:id="rId15"/>
    <p:sldMasterId id="2147484067" r:id="rId16"/>
    <p:sldMasterId id="2147484072" r:id="rId17"/>
    <p:sldMasterId id="2147484080" r:id="rId18"/>
    <p:sldMasterId id="2147484087" r:id="rId19"/>
    <p:sldMasterId id="2147484095" r:id="rId20"/>
    <p:sldMasterId id="2147484109" r:id="rId21"/>
    <p:sldMasterId id="2147484118" r:id="rId22"/>
    <p:sldMasterId id="2147484141" r:id="rId23"/>
  </p:sldMasterIdLst>
  <p:notesMasterIdLst>
    <p:notesMasterId r:id="rId44"/>
  </p:notesMasterIdLst>
  <p:handoutMasterIdLst>
    <p:handoutMasterId r:id="rId45"/>
  </p:handoutMasterIdLst>
  <p:sldIdLst>
    <p:sldId id="467" r:id="rId24"/>
    <p:sldId id="468" r:id="rId25"/>
    <p:sldId id="470" r:id="rId26"/>
    <p:sldId id="474" r:id="rId27"/>
    <p:sldId id="507" r:id="rId28"/>
    <p:sldId id="453" r:id="rId29"/>
    <p:sldId id="513" r:id="rId30"/>
    <p:sldId id="494" r:id="rId31"/>
    <p:sldId id="480" r:id="rId32"/>
    <p:sldId id="491" r:id="rId33"/>
    <p:sldId id="512" r:id="rId34"/>
    <p:sldId id="511" r:id="rId35"/>
    <p:sldId id="473" r:id="rId36"/>
    <p:sldId id="472" r:id="rId37"/>
    <p:sldId id="509" r:id="rId38"/>
    <p:sldId id="510" r:id="rId39"/>
    <p:sldId id="499" r:id="rId40"/>
    <p:sldId id="498" r:id="rId41"/>
    <p:sldId id="500" r:id="rId42"/>
    <p:sldId id="466" r:id="rId43"/>
  </p:sldIdLst>
  <p:sldSz cx="9144000" cy="5143500" type="screen16x9"/>
  <p:notesSz cx="6883400" cy="9906000"/>
  <p:custDataLst>
    <p:tags r:id="rId46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03">
          <p15:clr>
            <a:srgbClr val="A4A3A4"/>
          </p15:clr>
        </p15:guide>
        <p15:guide id="2" orient="horz" pos="3040">
          <p15:clr>
            <a:srgbClr val="A4A3A4"/>
          </p15:clr>
        </p15:guide>
        <p15:guide id="3" orient="horz" pos="527">
          <p15:clr>
            <a:srgbClr val="A4A3A4"/>
          </p15:clr>
        </p15:guide>
        <p15:guide id="4" orient="horz" pos="577">
          <p15:clr>
            <a:srgbClr val="A4A3A4"/>
          </p15:clr>
        </p15:guide>
        <p15:guide id="5" orient="horz" pos="374">
          <p15:clr>
            <a:srgbClr val="A4A3A4"/>
          </p15:clr>
        </p15:guide>
        <p15:guide id="6" orient="horz" pos="999">
          <p15:clr>
            <a:srgbClr val="A4A3A4"/>
          </p15:clr>
        </p15:guide>
        <p15:guide id="7" orient="horz" pos="1362">
          <p15:clr>
            <a:srgbClr val="A4A3A4"/>
          </p15:clr>
        </p15:guide>
        <p15:guide id="8" orient="horz" pos="1417">
          <p15:clr>
            <a:srgbClr val="A4A3A4"/>
          </p15:clr>
        </p15:guide>
        <p15:guide id="9" orient="horz" pos="1782">
          <p15:clr>
            <a:srgbClr val="A4A3A4"/>
          </p15:clr>
        </p15:guide>
        <p15:guide id="10" orient="horz" pos="1838">
          <p15:clr>
            <a:srgbClr val="A4A3A4"/>
          </p15:clr>
        </p15:guide>
        <p15:guide id="11" orient="horz" pos="2199">
          <p15:clr>
            <a:srgbClr val="A4A3A4"/>
          </p15:clr>
        </p15:guide>
        <p15:guide id="12" orient="horz" pos="2256">
          <p15:clr>
            <a:srgbClr val="A4A3A4"/>
          </p15:clr>
        </p15:guide>
        <p15:guide id="13" orient="horz" pos="2621">
          <p15:clr>
            <a:srgbClr val="A4A3A4"/>
          </p15:clr>
        </p15:guide>
        <p15:guide id="14" orient="horz" pos="423">
          <p15:clr>
            <a:srgbClr val="A4A3A4"/>
          </p15:clr>
        </p15:guide>
        <p15:guide id="15" orient="horz" pos="467">
          <p15:clr>
            <a:srgbClr val="A4A3A4"/>
          </p15:clr>
        </p15:guide>
        <p15:guide id="16" orient="horz" pos="941">
          <p15:clr>
            <a:srgbClr val="A4A3A4"/>
          </p15:clr>
        </p15:guide>
        <p15:guide id="17" orient="horz" pos="2675">
          <p15:clr>
            <a:srgbClr val="A4A3A4"/>
          </p15:clr>
        </p15:guide>
        <p15:guide id="18" orient="horz" pos="2799" userDrawn="1">
          <p15:clr>
            <a:srgbClr val="A4A3A4"/>
          </p15:clr>
        </p15:guide>
        <p15:guide id="19" pos="364">
          <p15:clr>
            <a:srgbClr val="A4A3A4"/>
          </p15:clr>
        </p15:guide>
        <p15:guide id="20" pos="1157">
          <p15:clr>
            <a:srgbClr val="A4A3A4"/>
          </p15:clr>
        </p15:guide>
        <p15:guide id="21" pos="1213">
          <p15:clr>
            <a:srgbClr val="A4A3A4"/>
          </p15:clr>
        </p15:guide>
        <p15:guide id="22" pos="2007">
          <p15:clr>
            <a:srgbClr val="A4A3A4"/>
          </p15:clr>
        </p15:guide>
        <p15:guide id="23" pos="2404" userDrawn="1">
          <p15:clr>
            <a:srgbClr val="A4A3A4"/>
          </p15:clr>
        </p15:guide>
        <p15:guide id="24" pos="2858">
          <p15:clr>
            <a:srgbClr val="A4A3A4"/>
          </p15:clr>
        </p15:guide>
        <p15:guide id="25" pos="2912">
          <p15:clr>
            <a:srgbClr val="A4A3A4"/>
          </p15:clr>
        </p15:guide>
        <p15:guide id="26" pos="3706">
          <p15:clr>
            <a:srgbClr val="A4A3A4"/>
          </p15:clr>
        </p15:guide>
        <p15:guide id="27" pos="3761">
          <p15:clr>
            <a:srgbClr val="A4A3A4"/>
          </p15:clr>
        </p15:guide>
        <p15:guide id="28" pos="4808" userDrawn="1">
          <p15:clr>
            <a:srgbClr val="A4A3A4"/>
          </p15:clr>
        </p15:guide>
        <p15:guide id="29" pos="542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3120">
          <p15:clr>
            <a:srgbClr val="A4A3A4"/>
          </p15:clr>
        </p15:guide>
        <p15:guide id="4" pos="2168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D00"/>
    <a:srgbClr val="4D4D4D"/>
    <a:srgbClr val="FDFD87"/>
    <a:srgbClr val="FFFF00"/>
    <a:srgbClr val="A02BFF"/>
    <a:srgbClr val="00CEFF"/>
    <a:srgbClr val="00D318"/>
    <a:srgbClr val="EA288C"/>
    <a:srgbClr val="BB0F9A"/>
    <a:srgbClr val="4D4E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E929F9F4-4A8F-4326-A1B4-22849713DDAB}" styleName="Dark Style 1 - Accent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7CE84F3-28C3-443E-9E96-99CF82512B78}" styleName="Dark Style 1 -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AF606853-7671-496A-8E4F-DF71F8EC918B}" styleName="Dark Style 1 - Accent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535" autoAdjust="0"/>
    <p:restoredTop sz="92185" autoAdjust="0"/>
  </p:normalViewPr>
  <p:slideViewPr>
    <p:cSldViewPr snapToGrid="0" snapToObjects="1">
      <p:cViewPr varScale="1">
        <p:scale>
          <a:sx n="87" d="100"/>
          <a:sy n="87" d="100"/>
        </p:scale>
        <p:origin x="1236" y="90"/>
      </p:cViewPr>
      <p:guideLst>
        <p:guide orient="horz" pos="203"/>
        <p:guide orient="horz" pos="3040"/>
        <p:guide orient="horz" pos="527"/>
        <p:guide orient="horz" pos="577"/>
        <p:guide orient="horz" pos="374"/>
        <p:guide orient="horz" pos="999"/>
        <p:guide orient="horz" pos="1362"/>
        <p:guide orient="horz" pos="1417"/>
        <p:guide orient="horz" pos="1782"/>
        <p:guide orient="horz" pos="1838"/>
        <p:guide orient="horz" pos="2199"/>
        <p:guide orient="horz" pos="2256"/>
        <p:guide orient="horz" pos="2621"/>
        <p:guide orient="horz" pos="423"/>
        <p:guide orient="horz" pos="467"/>
        <p:guide orient="horz" pos="941"/>
        <p:guide orient="horz" pos="2675"/>
        <p:guide orient="horz" pos="2799"/>
        <p:guide pos="364"/>
        <p:guide pos="1157"/>
        <p:guide pos="1213"/>
        <p:guide pos="2007"/>
        <p:guide pos="2404"/>
        <p:guide pos="2858"/>
        <p:guide pos="2912"/>
        <p:guide pos="3706"/>
        <p:guide pos="3761"/>
        <p:guide pos="4808"/>
        <p:guide pos="54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85" d="100"/>
          <a:sy n="85" d="100"/>
        </p:scale>
        <p:origin x="-3834" y="-96"/>
      </p:cViewPr>
      <p:guideLst>
        <p:guide orient="horz" pos="2880"/>
        <p:guide pos="2160"/>
        <p:guide orient="horz" pos="3120"/>
        <p:guide pos="216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" Target="slides/slide3.xml"/><Relationship Id="rId39" Type="http://schemas.openxmlformats.org/officeDocument/2006/relationships/slide" Target="slides/slide16.xml"/><Relationship Id="rId3" Type="http://schemas.openxmlformats.org/officeDocument/2006/relationships/customXml" Target="../customXml/item3.xml"/><Relationship Id="rId21" Type="http://schemas.openxmlformats.org/officeDocument/2006/relationships/slideMaster" Target="slideMasters/slideMaster18.xml"/><Relationship Id="rId34" Type="http://schemas.openxmlformats.org/officeDocument/2006/relationships/slide" Target="slides/slide11.xml"/><Relationship Id="rId42" Type="http://schemas.openxmlformats.org/officeDocument/2006/relationships/slide" Target="slides/slide19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" Target="slides/slide2.xml"/><Relationship Id="rId33" Type="http://schemas.openxmlformats.org/officeDocument/2006/relationships/slide" Target="slides/slide10.xml"/><Relationship Id="rId38" Type="http://schemas.openxmlformats.org/officeDocument/2006/relationships/slide" Target="slides/slide15.xml"/><Relationship Id="rId46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Master" Target="slideMasters/slideMaster17.xml"/><Relationship Id="rId29" Type="http://schemas.openxmlformats.org/officeDocument/2006/relationships/slide" Target="slides/slide6.xml"/><Relationship Id="rId41" Type="http://schemas.openxmlformats.org/officeDocument/2006/relationships/slide" Target="slides/slide18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.xml"/><Relationship Id="rId32" Type="http://schemas.openxmlformats.org/officeDocument/2006/relationships/slide" Target="slides/slide9.xml"/><Relationship Id="rId37" Type="http://schemas.openxmlformats.org/officeDocument/2006/relationships/slide" Target="slides/slide14.xml"/><Relationship Id="rId40" Type="http://schemas.openxmlformats.org/officeDocument/2006/relationships/slide" Target="slides/slide17.xml"/><Relationship Id="rId45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Master" Target="slideMasters/slideMaster20.xml"/><Relationship Id="rId28" Type="http://schemas.openxmlformats.org/officeDocument/2006/relationships/slide" Target="slides/slide5.xml"/><Relationship Id="rId36" Type="http://schemas.openxmlformats.org/officeDocument/2006/relationships/slide" Target="slides/slide13.xml"/><Relationship Id="rId49" Type="http://schemas.openxmlformats.org/officeDocument/2006/relationships/theme" Target="theme/theme1.xml"/><Relationship Id="rId10" Type="http://schemas.openxmlformats.org/officeDocument/2006/relationships/slideMaster" Target="slideMasters/slideMaster7.xml"/><Relationship Id="rId19" Type="http://schemas.openxmlformats.org/officeDocument/2006/relationships/slideMaster" Target="slideMasters/slideMaster16.xml"/><Relationship Id="rId31" Type="http://schemas.openxmlformats.org/officeDocument/2006/relationships/slide" Target="slides/slide8.xml"/><Relationship Id="rId44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Master" Target="slideMasters/slideMaster19.xml"/><Relationship Id="rId27" Type="http://schemas.openxmlformats.org/officeDocument/2006/relationships/slide" Target="slides/slide4.xml"/><Relationship Id="rId30" Type="http://schemas.openxmlformats.org/officeDocument/2006/relationships/slide" Target="slides/slide7.xml"/><Relationship Id="rId35" Type="http://schemas.openxmlformats.org/officeDocument/2006/relationships/slide" Target="slides/slide12.xml"/><Relationship Id="rId43" Type="http://schemas.openxmlformats.org/officeDocument/2006/relationships/slide" Target="slides/slide20.xml"/><Relationship Id="rId48" Type="http://schemas.openxmlformats.org/officeDocument/2006/relationships/viewProps" Target="viewProps.xml"/><Relationship Id="rId8" Type="http://schemas.openxmlformats.org/officeDocument/2006/relationships/slideMaster" Target="slideMasters/slideMaster5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5_5">
  <dgm:title val=""/>
  <dgm:desc val=""/>
  <dgm:catLst>
    <dgm:cat type="accent5" pri="11500"/>
  </dgm:catLst>
  <dgm:styleLbl name="node0">
    <dgm:fillClrLst meth="cycle">
      <a:schemeClr val="accent5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>
        <a:alpha val="9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>
        <a:alpha val="90000"/>
      </a:schemeClr>
      <a:schemeClr val="accent5">
        <a:alpha val="5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/>
    <dgm:txEffectClrLst/>
  </dgm:styleLbl>
  <dgm:styleLbl name="lnNode1">
    <dgm:fillClrLst>
      <a:schemeClr val="accent5">
        <a:shade val="90000"/>
      </a:schemeClr>
      <a:schemeClr val="accent5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shade val="80000"/>
        <a:alpha val="50000"/>
      </a:schemeClr>
      <a:schemeClr val="accent5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  <a:alpha val="90000"/>
      </a:schemeClr>
      <a:schemeClr val="accent5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fg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bg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sibTrans1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alpha val="90000"/>
        <a:tint val="40000"/>
      </a:schemeClr>
      <a:schemeClr val="accent5">
        <a:alpha val="5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6_3">
  <dgm:title val=""/>
  <dgm:desc val=""/>
  <dgm:catLst>
    <dgm:cat type="accent6" pri="11300"/>
  </dgm:catLst>
  <dgm:styleLbl name="node0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6">
        <a:shade val="80000"/>
      </a:schemeClr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shade val="80000"/>
      </a:schemeClr>
      <a:schemeClr val="accent6">
        <a:tint val="7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/>
    <dgm:txEffectClrLst/>
  </dgm:styleLbl>
  <dgm:styleLbl name="lnNode1">
    <dgm:fillClrLst>
      <a:schemeClr val="accent6">
        <a:shade val="80000"/>
      </a:schemeClr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9000"/>
      </a:schemeClr>
    </dgm:fillClrLst>
    <dgm:linClrLst meth="repeat">
      <a:schemeClr val="accent6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80000"/>
      </a:schemeClr>
    </dgm:fillClrLst>
    <dgm:linClrLst meth="repeat">
      <a:schemeClr val="accent6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6_5">
  <dgm:title val=""/>
  <dgm:desc val=""/>
  <dgm:catLst>
    <dgm:cat type="accent6" pri="11500"/>
  </dgm:catLst>
  <dgm:styleLbl name="node0">
    <dgm:fillClrLst meth="cycle"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alpha val="90000"/>
      </a:schemeClr>
      <a:schemeClr val="accent6">
        <a:alpha val="5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/>
    <dgm:txEffectClrLst/>
  </dgm:styleLbl>
  <dgm:styleLbl name="node1">
    <dgm:fillClrLst>
      <a:schemeClr val="accent6">
        <a:alpha val="9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6">
        <a:shade val="90000"/>
      </a:schemeClr>
      <a:schemeClr val="accent6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  <a:alpha val="90000"/>
      </a:schemeClr>
      <a:schemeClr val="accent6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b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sibTrans1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6">
        <a:alpha val="90000"/>
        <a:tint val="40000"/>
      </a:schemeClr>
      <a:schemeClr val="accent6">
        <a:alpha val="5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6_3">
  <dgm:title val=""/>
  <dgm:desc val=""/>
  <dgm:catLst>
    <dgm:cat type="accent6" pri="11300"/>
  </dgm:catLst>
  <dgm:styleLbl name="node0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6">
        <a:shade val="80000"/>
      </a:schemeClr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shade val="80000"/>
      </a:schemeClr>
      <a:schemeClr val="accent6">
        <a:tint val="7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/>
    <dgm:txEffectClrLst/>
  </dgm:styleLbl>
  <dgm:styleLbl name="lnNode1">
    <dgm:fillClrLst>
      <a:schemeClr val="accent6">
        <a:shade val="80000"/>
      </a:schemeClr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9000"/>
      </a:schemeClr>
    </dgm:fillClrLst>
    <dgm:linClrLst meth="repeat">
      <a:schemeClr val="accent6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80000"/>
      </a:schemeClr>
    </dgm:fillClrLst>
    <dgm:linClrLst meth="repeat">
      <a:schemeClr val="accent6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6_5">
  <dgm:title val=""/>
  <dgm:desc val=""/>
  <dgm:catLst>
    <dgm:cat type="accent6" pri="11500"/>
  </dgm:catLst>
  <dgm:styleLbl name="node0">
    <dgm:fillClrLst meth="cycle"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alpha val="90000"/>
      </a:schemeClr>
      <a:schemeClr val="accent6">
        <a:alpha val="5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/>
    <dgm:txEffectClrLst/>
  </dgm:styleLbl>
  <dgm:styleLbl name="node1">
    <dgm:fillClrLst>
      <a:schemeClr val="accent6">
        <a:alpha val="9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6">
        <a:shade val="90000"/>
      </a:schemeClr>
      <a:schemeClr val="accent6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  <a:alpha val="90000"/>
      </a:schemeClr>
      <a:schemeClr val="accent6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b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sibTrans1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6">
        <a:alpha val="90000"/>
        <a:tint val="40000"/>
      </a:schemeClr>
      <a:schemeClr val="accent6">
        <a:alpha val="5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6_5">
  <dgm:title val=""/>
  <dgm:desc val=""/>
  <dgm:catLst>
    <dgm:cat type="accent6" pri="11500"/>
  </dgm:catLst>
  <dgm:styleLbl name="node0">
    <dgm:fillClrLst meth="cycle"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alpha val="90000"/>
      </a:schemeClr>
      <a:schemeClr val="accent6">
        <a:alpha val="5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/>
    <dgm:txEffectClrLst/>
  </dgm:styleLbl>
  <dgm:styleLbl name="node1">
    <dgm:fillClrLst>
      <a:schemeClr val="accent6">
        <a:alpha val="9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6">
        <a:shade val="90000"/>
      </a:schemeClr>
      <a:schemeClr val="accent6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  <a:alpha val="90000"/>
      </a:schemeClr>
      <a:schemeClr val="accent6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b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sibTrans1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6">
        <a:alpha val="90000"/>
        <a:tint val="40000"/>
      </a:schemeClr>
      <a:schemeClr val="accent6">
        <a:alpha val="5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6_5">
  <dgm:title val=""/>
  <dgm:desc val=""/>
  <dgm:catLst>
    <dgm:cat type="accent6" pri="11500"/>
  </dgm:catLst>
  <dgm:styleLbl name="node0">
    <dgm:fillClrLst meth="cycle"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alpha val="90000"/>
      </a:schemeClr>
      <a:schemeClr val="accent6">
        <a:alpha val="5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/>
    <dgm:txEffectClrLst/>
  </dgm:styleLbl>
  <dgm:styleLbl name="node1">
    <dgm:fillClrLst>
      <a:schemeClr val="accent6">
        <a:alpha val="9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6">
        <a:shade val="90000"/>
      </a:schemeClr>
      <a:schemeClr val="accent6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  <a:alpha val="90000"/>
      </a:schemeClr>
      <a:schemeClr val="accent6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b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sibTrans1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6">
        <a:alpha val="90000"/>
        <a:tint val="40000"/>
      </a:schemeClr>
      <a:schemeClr val="accent6">
        <a:alpha val="5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0D4F297-A282-4AD8-9143-BF75F4B9A706}" type="doc">
      <dgm:prSet loTypeId="urn:microsoft.com/office/officeart/2005/8/layout/radial6" loCatId="relationship" qsTypeId="urn:microsoft.com/office/officeart/2005/8/quickstyle/simple1" qsCatId="simple" csTypeId="urn:microsoft.com/office/officeart/2005/8/colors/accent5_5" csCatId="accent5" phldr="1"/>
      <dgm:spPr/>
      <dgm:t>
        <a:bodyPr/>
        <a:lstStyle/>
        <a:p>
          <a:endParaRPr lang="pt-BR"/>
        </a:p>
      </dgm:t>
    </dgm:pt>
    <dgm:pt modelId="{F936D47F-F75B-4B8A-9B66-3D31D59D7C53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FMS</a:t>
          </a:r>
          <a:endParaRPr lang="pt-BR" dirty="0">
            <a:latin typeface="Simplon BP Regular" pitchFamily="2" charset="0"/>
          </a:endParaRPr>
        </a:p>
      </dgm:t>
    </dgm:pt>
    <dgm:pt modelId="{C1ED1626-E6B0-4E46-B0D1-20363ED3034D}" type="parTrans" cxnId="{9453A039-251E-4175-97FE-51A73E4A3469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D8CFC0D6-60E7-41A2-A5B4-7CC3F729EEE2}" type="sibTrans" cxnId="{9453A039-251E-4175-97FE-51A73E4A3469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E52CAC2C-AB3D-46DD-9F2B-537247046E0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DIGITAL</a:t>
          </a:r>
          <a:endParaRPr lang="pt-BR" dirty="0">
            <a:latin typeface="Simplon BP Regular" pitchFamily="2" charset="0"/>
          </a:endParaRPr>
        </a:p>
      </dgm:t>
    </dgm:pt>
    <dgm:pt modelId="{1306554D-2D0A-4436-AE2E-22B3E5EC244E}" type="parTrans" cxnId="{60411C65-C664-49F8-8E0B-2F06CB8CB6F7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C1871812-F4A6-4515-8676-C5B2743538AD}" type="sibTrans" cxnId="{60411C65-C664-49F8-8E0B-2F06CB8CB6F7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4E49F4DF-0482-4AD7-B6A2-473A84C40427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CRÉDITO</a:t>
          </a:r>
          <a:endParaRPr lang="pt-BR" dirty="0">
            <a:latin typeface="Simplon BP Regular" pitchFamily="2" charset="0"/>
          </a:endParaRPr>
        </a:p>
      </dgm:t>
    </dgm:pt>
    <dgm:pt modelId="{ACBADD78-8D96-4BB7-80C6-FAD0C19D3F95}" type="parTrans" cxnId="{FBC15B3A-DE17-4B11-9375-4C4F2D869CC9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9423712B-6F7F-4AF3-BA06-444D9F7F8D31}" type="sibTrans" cxnId="{FBC15B3A-DE17-4B11-9375-4C4F2D869CC9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5D5338F0-2120-4F5A-B37E-7EDA7B42EBC0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SEGINF</a:t>
          </a:r>
          <a:endParaRPr lang="pt-BR" dirty="0">
            <a:latin typeface="Simplon BP Regular" pitchFamily="2" charset="0"/>
          </a:endParaRPr>
        </a:p>
      </dgm:t>
    </dgm:pt>
    <dgm:pt modelId="{94A26CD1-01B6-481C-8D91-E6A41635536E}" type="parTrans" cxnId="{32617C68-993D-48C2-8D71-34D73AFCD2EC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199765E0-0730-43B0-8A6D-EDB545F937D1}" type="sibTrans" cxnId="{32617C68-993D-48C2-8D71-34D73AFCD2EC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71E3A58F-3C6C-421A-AD6E-3C398757EDB9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JEC</a:t>
          </a:r>
          <a:endParaRPr lang="pt-BR" dirty="0">
            <a:latin typeface="Simplon BP Regular" pitchFamily="2" charset="0"/>
          </a:endParaRPr>
        </a:p>
      </dgm:t>
    </dgm:pt>
    <dgm:pt modelId="{751C5216-7E39-4FAA-9F68-B5C6A3E04840}" type="parTrans" cxnId="{5C0D7E80-CFD9-4CA5-99D5-731CB48F9F50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E7D97A82-E4D6-49A1-A9E3-A44C16AB4FA5}" type="sibTrans" cxnId="{5C0D7E80-CFD9-4CA5-99D5-731CB48F9F50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FDF8DB47-362D-48B8-B69C-1603389C3404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ATIVAÇÂO</a:t>
          </a:r>
          <a:endParaRPr lang="pt-BR" dirty="0">
            <a:latin typeface="Simplon BP Regular" pitchFamily="2" charset="0"/>
          </a:endParaRPr>
        </a:p>
      </dgm:t>
    </dgm:pt>
    <dgm:pt modelId="{9E4AE0B9-2D88-4B70-95D6-22DFACDB9BC8}" type="parTrans" cxnId="{8DB98C54-E1C5-4D23-BF3A-6807E2266D40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0E76E23F-6BFC-4C2B-AB5C-C5F0F0CFF447}" type="sibTrans" cxnId="{8DB98C54-E1C5-4D23-BF3A-6807E2266D40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C64569F0-1A2D-4C33-96CC-015E9ABC785E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VENDAS</a:t>
          </a:r>
          <a:endParaRPr lang="pt-BR" dirty="0">
            <a:latin typeface="Simplon BP Regular" pitchFamily="2" charset="0"/>
          </a:endParaRPr>
        </a:p>
      </dgm:t>
    </dgm:pt>
    <dgm:pt modelId="{23067318-3473-4F23-84B6-37D2D9FF9442}" type="parTrans" cxnId="{BF343A4A-03F2-4F0A-97DA-ACD253A58AF0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599767DF-094F-44C6-870D-80DDE759D57A}" type="sibTrans" cxnId="{BF343A4A-03F2-4F0A-97DA-ACD253A58AF0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56675002-99D3-4456-BB98-BAFEAB40E060}" type="pres">
      <dgm:prSet presAssocID="{60D4F297-A282-4AD8-9143-BF75F4B9A706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769BA255-6875-4FC9-AC82-56BD39CABFE7}" type="pres">
      <dgm:prSet presAssocID="{F936D47F-F75B-4B8A-9B66-3D31D59D7C53}" presName="centerShape" presStyleLbl="node0" presStyleIdx="0" presStyleCnt="1"/>
      <dgm:spPr/>
      <dgm:t>
        <a:bodyPr/>
        <a:lstStyle/>
        <a:p>
          <a:endParaRPr lang="pt-BR"/>
        </a:p>
      </dgm:t>
    </dgm:pt>
    <dgm:pt modelId="{2B4CAB2E-1A0B-4830-9298-A4369C6FF292}" type="pres">
      <dgm:prSet presAssocID="{E52CAC2C-AB3D-46DD-9F2B-537247046E0B}" presName="node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2DE1284-C931-4DD4-9300-B062F7D8E6C1}" type="pres">
      <dgm:prSet presAssocID="{E52CAC2C-AB3D-46DD-9F2B-537247046E0B}" presName="dummy" presStyleCnt="0"/>
      <dgm:spPr/>
    </dgm:pt>
    <dgm:pt modelId="{F7024BFF-B69F-4885-A06C-A990A1EC162F}" type="pres">
      <dgm:prSet presAssocID="{C1871812-F4A6-4515-8676-C5B2743538AD}" presName="sibTrans" presStyleLbl="sibTrans2D1" presStyleIdx="0" presStyleCnt="6"/>
      <dgm:spPr/>
      <dgm:t>
        <a:bodyPr/>
        <a:lstStyle/>
        <a:p>
          <a:endParaRPr lang="pt-BR"/>
        </a:p>
      </dgm:t>
    </dgm:pt>
    <dgm:pt modelId="{8D551815-3B6C-4805-8952-F91BF108D8F5}" type="pres">
      <dgm:prSet presAssocID="{C64569F0-1A2D-4C33-96CC-015E9ABC785E}" presName="node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A45EE683-7A76-4220-BC10-AB36DF6639D8}" type="pres">
      <dgm:prSet presAssocID="{C64569F0-1A2D-4C33-96CC-015E9ABC785E}" presName="dummy" presStyleCnt="0"/>
      <dgm:spPr/>
    </dgm:pt>
    <dgm:pt modelId="{5B851C51-11B9-431E-9DFB-635E13DF604D}" type="pres">
      <dgm:prSet presAssocID="{599767DF-094F-44C6-870D-80DDE759D57A}" presName="sibTrans" presStyleLbl="sibTrans2D1" presStyleIdx="1" presStyleCnt="6"/>
      <dgm:spPr/>
      <dgm:t>
        <a:bodyPr/>
        <a:lstStyle/>
        <a:p>
          <a:endParaRPr lang="pt-BR"/>
        </a:p>
      </dgm:t>
    </dgm:pt>
    <dgm:pt modelId="{E96ED2BC-7F66-49BF-87BF-4063B76ECCE1}" type="pres">
      <dgm:prSet presAssocID="{FDF8DB47-362D-48B8-B69C-1603389C3404}" presName="node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ADC95EBA-CE0A-4CB3-B41C-67AD8C722E39}" type="pres">
      <dgm:prSet presAssocID="{FDF8DB47-362D-48B8-B69C-1603389C3404}" presName="dummy" presStyleCnt="0"/>
      <dgm:spPr/>
    </dgm:pt>
    <dgm:pt modelId="{23956C06-BCDF-4AF7-99D0-0999AEFFC186}" type="pres">
      <dgm:prSet presAssocID="{0E76E23F-6BFC-4C2B-AB5C-C5F0F0CFF447}" presName="sibTrans" presStyleLbl="sibTrans2D1" presStyleIdx="2" presStyleCnt="6"/>
      <dgm:spPr/>
      <dgm:t>
        <a:bodyPr/>
        <a:lstStyle/>
        <a:p>
          <a:endParaRPr lang="pt-BR"/>
        </a:p>
      </dgm:t>
    </dgm:pt>
    <dgm:pt modelId="{B97EF70B-6154-410F-985C-9C1FE38BB469}" type="pres">
      <dgm:prSet presAssocID="{4E49F4DF-0482-4AD7-B6A2-473A84C40427}" presName="node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5BE2194-074C-4914-8F81-C02BC87D70F5}" type="pres">
      <dgm:prSet presAssocID="{4E49F4DF-0482-4AD7-B6A2-473A84C40427}" presName="dummy" presStyleCnt="0"/>
      <dgm:spPr/>
    </dgm:pt>
    <dgm:pt modelId="{928964B4-47FD-4BCD-9DAE-27ED367659A6}" type="pres">
      <dgm:prSet presAssocID="{9423712B-6F7F-4AF3-BA06-444D9F7F8D31}" presName="sibTrans" presStyleLbl="sibTrans2D1" presStyleIdx="3" presStyleCnt="6"/>
      <dgm:spPr/>
      <dgm:t>
        <a:bodyPr/>
        <a:lstStyle/>
        <a:p>
          <a:endParaRPr lang="pt-BR"/>
        </a:p>
      </dgm:t>
    </dgm:pt>
    <dgm:pt modelId="{FAEA06C7-9021-4548-862C-93C9F1ADC6E4}" type="pres">
      <dgm:prSet presAssocID="{5D5338F0-2120-4F5A-B37E-7EDA7B42EBC0}" presName="node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DE2BB87E-DB82-432A-B391-455FF74776F3}" type="pres">
      <dgm:prSet presAssocID="{5D5338F0-2120-4F5A-B37E-7EDA7B42EBC0}" presName="dummy" presStyleCnt="0"/>
      <dgm:spPr/>
    </dgm:pt>
    <dgm:pt modelId="{C79B882E-7BAE-40E6-81B0-3918E9F61082}" type="pres">
      <dgm:prSet presAssocID="{199765E0-0730-43B0-8A6D-EDB545F937D1}" presName="sibTrans" presStyleLbl="sibTrans2D1" presStyleIdx="4" presStyleCnt="6"/>
      <dgm:spPr/>
      <dgm:t>
        <a:bodyPr/>
        <a:lstStyle/>
        <a:p>
          <a:endParaRPr lang="pt-BR"/>
        </a:p>
      </dgm:t>
    </dgm:pt>
    <dgm:pt modelId="{20365B38-D7BF-4500-88FE-AF174FA7A1EE}" type="pres">
      <dgm:prSet presAssocID="{71E3A58F-3C6C-421A-AD6E-3C398757EDB9}" presName="node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DC18B7DD-8167-447F-B833-5A34BBF1BC8A}" type="pres">
      <dgm:prSet presAssocID="{71E3A58F-3C6C-421A-AD6E-3C398757EDB9}" presName="dummy" presStyleCnt="0"/>
      <dgm:spPr/>
    </dgm:pt>
    <dgm:pt modelId="{7871B322-3BEE-4A39-A74E-0743729EF641}" type="pres">
      <dgm:prSet presAssocID="{E7D97A82-E4D6-49A1-A9E3-A44C16AB4FA5}" presName="sibTrans" presStyleLbl="sibTrans2D1" presStyleIdx="5" presStyleCnt="6"/>
      <dgm:spPr/>
      <dgm:t>
        <a:bodyPr/>
        <a:lstStyle/>
        <a:p>
          <a:endParaRPr lang="pt-BR"/>
        </a:p>
      </dgm:t>
    </dgm:pt>
  </dgm:ptLst>
  <dgm:cxnLst>
    <dgm:cxn modelId="{41607AD3-4271-40E2-B02C-0FE3DE91DEF3}" type="presOf" srcId="{E7D97A82-E4D6-49A1-A9E3-A44C16AB4FA5}" destId="{7871B322-3BEE-4A39-A74E-0743729EF641}" srcOrd="0" destOrd="0" presId="urn:microsoft.com/office/officeart/2005/8/layout/radial6"/>
    <dgm:cxn modelId="{9453A039-251E-4175-97FE-51A73E4A3469}" srcId="{60D4F297-A282-4AD8-9143-BF75F4B9A706}" destId="{F936D47F-F75B-4B8A-9B66-3D31D59D7C53}" srcOrd="0" destOrd="0" parTransId="{C1ED1626-E6B0-4E46-B0D1-20363ED3034D}" sibTransId="{D8CFC0D6-60E7-41A2-A5B4-7CC3F729EEE2}"/>
    <dgm:cxn modelId="{FBC15B3A-DE17-4B11-9375-4C4F2D869CC9}" srcId="{F936D47F-F75B-4B8A-9B66-3D31D59D7C53}" destId="{4E49F4DF-0482-4AD7-B6A2-473A84C40427}" srcOrd="3" destOrd="0" parTransId="{ACBADD78-8D96-4BB7-80C6-FAD0C19D3F95}" sibTransId="{9423712B-6F7F-4AF3-BA06-444D9F7F8D31}"/>
    <dgm:cxn modelId="{6D6E5C34-8EA5-43B2-8263-02F869BCA3FC}" type="presOf" srcId="{71E3A58F-3C6C-421A-AD6E-3C398757EDB9}" destId="{20365B38-D7BF-4500-88FE-AF174FA7A1EE}" srcOrd="0" destOrd="0" presId="urn:microsoft.com/office/officeart/2005/8/layout/radial6"/>
    <dgm:cxn modelId="{76A0308A-573C-4148-AD1A-87350AFE1474}" type="presOf" srcId="{FDF8DB47-362D-48B8-B69C-1603389C3404}" destId="{E96ED2BC-7F66-49BF-87BF-4063B76ECCE1}" srcOrd="0" destOrd="0" presId="urn:microsoft.com/office/officeart/2005/8/layout/radial6"/>
    <dgm:cxn modelId="{1E5EFE86-51ED-4C5D-A76B-F0AD706564C5}" type="presOf" srcId="{4E49F4DF-0482-4AD7-B6A2-473A84C40427}" destId="{B97EF70B-6154-410F-985C-9C1FE38BB469}" srcOrd="0" destOrd="0" presId="urn:microsoft.com/office/officeart/2005/8/layout/radial6"/>
    <dgm:cxn modelId="{7C6A59FD-B73C-4A7F-A8DA-108061F34E29}" type="presOf" srcId="{599767DF-094F-44C6-870D-80DDE759D57A}" destId="{5B851C51-11B9-431E-9DFB-635E13DF604D}" srcOrd="0" destOrd="0" presId="urn:microsoft.com/office/officeart/2005/8/layout/radial6"/>
    <dgm:cxn modelId="{BF343A4A-03F2-4F0A-97DA-ACD253A58AF0}" srcId="{F936D47F-F75B-4B8A-9B66-3D31D59D7C53}" destId="{C64569F0-1A2D-4C33-96CC-015E9ABC785E}" srcOrd="1" destOrd="0" parTransId="{23067318-3473-4F23-84B6-37D2D9FF9442}" sibTransId="{599767DF-094F-44C6-870D-80DDE759D57A}"/>
    <dgm:cxn modelId="{8163E862-F5D7-4501-9396-0323AD3D8051}" type="presOf" srcId="{60D4F297-A282-4AD8-9143-BF75F4B9A706}" destId="{56675002-99D3-4456-BB98-BAFEAB40E060}" srcOrd="0" destOrd="0" presId="urn:microsoft.com/office/officeart/2005/8/layout/radial6"/>
    <dgm:cxn modelId="{32617C68-993D-48C2-8D71-34D73AFCD2EC}" srcId="{F936D47F-F75B-4B8A-9B66-3D31D59D7C53}" destId="{5D5338F0-2120-4F5A-B37E-7EDA7B42EBC0}" srcOrd="4" destOrd="0" parTransId="{94A26CD1-01B6-481C-8D91-E6A41635536E}" sibTransId="{199765E0-0730-43B0-8A6D-EDB545F937D1}"/>
    <dgm:cxn modelId="{60411C65-C664-49F8-8E0B-2F06CB8CB6F7}" srcId="{F936D47F-F75B-4B8A-9B66-3D31D59D7C53}" destId="{E52CAC2C-AB3D-46DD-9F2B-537247046E0B}" srcOrd="0" destOrd="0" parTransId="{1306554D-2D0A-4436-AE2E-22B3E5EC244E}" sibTransId="{C1871812-F4A6-4515-8676-C5B2743538AD}"/>
    <dgm:cxn modelId="{7BDE5518-4673-4BDA-944F-677E5CB4DF9E}" type="presOf" srcId="{C64569F0-1A2D-4C33-96CC-015E9ABC785E}" destId="{8D551815-3B6C-4805-8952-F91BF108D8F5}" srcOrd="0" destOrd="0" presId="urn:microsoft.com/office/officeart/2005/8/layout/radial6"/>
    <dgm:cxn modelId="{E39A408E-A015-488C-A8CE-DF32E9C9A058}" type="presOf" srcId="{0E76E23F-6BFC-4C2B-AB5C-C5F0F0CFF447}" destId="{23956C06-BCDF-4AF7-99D0-0999AEFFC186}" srcOrd="0" destOrd="0" presId="urn:microsoft.com/office/officeart/2005/8/layout/radial6"/>
    <dgm:cxn modelId="{D0AF22CB-19CA-4573-B1A2-0D2136E153A7}" type="presOf" srcId="{E52CAC2C-AB3D-46DD-9F2B-537247046E0B}" destId="{2B4CAB2E-1A0B-4830-9298-A4369C6FF292}" srcOrd="0" destOrd="0" presId="urn:microsoft.com/office/officeart/2005/8/layout/radial6"/>
    <dgm:cxn modelId="{5C0D7E80-CFD9-4CA5-99D5-731CB48F9F50}" srcId="{F936D47F-F75B-4B8A-9B66-3D31D59D7C53}" destId="{71E3A58F-3C6C-421A-AD6E-3C398757EDB9}" srcOrd="5" destOrd="0" parTransId="{751C5216-7E39-4FAA-9F68-B5C6A3E04840}" sibTransId="{E7D97A82-E4D6-49A1-A9E3-A44C16AB4FA5}"/>
    <dgm:cxn modelId="{3824BCC1-829D-4EA8-B262-95AA683E9E35}" type="presOf" srcId="{9423712B-6F7F-4AF3-BA06-444D9F7F8D31}" destId="{928964B4-47FD-4BCD-9DAE-27ED367659A6}" srcOrd="0" destOrd="0" presId="urn:microsoft.com/office/officeart/2005/8/layout/radial6"/>
    <dgm:cxn modelId="{680E9ADA-8AFB-4F64-89B3-4655DA3D012B}" type="presOf" srcId="{5D5338F0-2120-4F5A-B37E-7EDA7B42EBC0}" destId="{FAEA06C7-9021-4548-862C-93C9F1ADC6E4}" srcOrd="0" destOrd="0" presId="urn:microsoft.com/office/officeart/2005/8/layout/radial6"/>
    <dgm:cxn modelId="{C9365660-84FF-4406-9DBE-7A97C582F982}" type="presOf" srcId="{199765E0-0730-43B0-8A6D-EDB545F937D1}" destId="{C79B882E-7BAE-40E6-81B0-3918E9F61082}" srcOrd="0" destOrd="0" presId="urn:microsoft.com/office/officeart/2005/8/layout/radial6"/>
    <dgm:cxn modelId="{2C88E4E2-4EC9-48A1-B3BF-AC9165287713}" type="presOf" srcId="{C1871812-F4A6-4515-8676-C5B2743538AD}" destId="{F7024BFF-B69F-4885-A06C-A990A1EC162F}" srcOrd="0" destOrd="0" presId="urn:microsoft.com/office/officeart/2005/8/layout/radial6"/>
    <dgm:cxn modelId="{8DB98C54-E1C5-4D23-BF3A-6807E2266D40}" srcId="{F936D47F-F75B-4B8A-9B66-3D31D59D7C53}" destId="{FDF8DB47-362D-48B8-B69C-1603389C3404}" srcOrd="2" destOrd="0" parTransId="{9E4AE0B9-2D88-4B70-95D6-22DFACDB9BC8}" sibTransId="{0E76E23F-6BFC-4C2B-AB5C-C5F0F0CFF447}"/>
    <dgm:cxn modelId="{12B18B2C-3971-471A-A75C-CB525A70C662}" type="presOf" srcId="{F936D47F-F75B-4B8A-9B66-3D31D59D7C53}" destId="{769BA255-6875-4FC9-AC82-56BD39CABFE7}" srcOrd="0" destOrd="0" presId="urn:microsoft.com/office/officeart/2005/8/layout/radial6"/>
    <dgm:cxn modelId="{D8AB9617-FD11-4F7A-9557-AD7E72575808}" type="presParOf" srcId="{56675002-99D3-4456-BB98-BAFEAB40E060}" destId="{769BA255-6875-4FC9-AC82-56BD39CABFE7}" srcOrd="0" destOrd="0" presId="urn:microsoft.com/office/officeart/2005/8/layout/radial6"/>
    <dgm:cxn modelId="{83579654-F3DC-413B-B232-CA2C95047D58}" type="presParOf" srcId="{56675002-99D3-4456-BB98-BAFEAB40E060}" destId="{2B4CAB2E-1A0B-4830-9298-A4369C6FF292}" srcOrd="1" destOrd="0" presId="urn:microsoft.com/office/officeart/2005/8/layout/radial6"/>
    <dgm:cxn modelId="{E34D74DF-B646-4BA3-8DF2-BE0DFAA453F5}" type="presParOf" srcId="{56675002-99D3-4456-BB98-BAFEAB40E060}" destId="{42DE1284-C931-4DD4-9300-B062F7D8E6C1}" srcOrd="2" destOrd="0" presId="urn:microsoft.com/office/officeart/2005/8/layout/radial6"/>
    <dgm:cxn modelId="{6884DB57-DA29-447F-BF30-DC1A254A7676}" type="presParOf" srcId="{56675002-99D3-4456-BB98-BAFEAB40E060}" destId="{F7024BFF-B69F-4885-A06C-A990A1EC162F}" srcOrd="3" destOrd="0" presId="urn:microsoft.com/office/officeart/2005/8/layout/radial6"/>
    <dgm:cxn modelId="{22C13B09-9F4D-44BD-9CD2-3C3DF37C56DE}" type="presParOf" srcId="{56675002-99D3-4456-BB98-BAFEAB40E060}" destId="{8D551815-3B6C-4805-8952-F91BF108D8F5}" srcOrd="4" destOrd="0" presId="urn:microsoft.com/office/officeart/2005/8/layout/radial6"/>
    <dgm:cxn modelId="{860220A6-626C-444E-975D-2A4F5F8CC5A0}" type="presParOf" srcId="{56675002-99D3-4456-BB98-BAFEAB40E060}" destId="{A45EE683-7A76-4220-BC10-AB36DF6639D8}" srcOrd="5" destOrd="0" presId="urn:microsoft.com/office/officeart/2005/8/layout/radial6"/>
    <dgm:cxn modelId="{B7C10C7E-EEC2-481B-BEC2-50863D756584}" type="presParOf" srcId="{56675002-99D3-4456-BB98-BAFEAB40E060}" destId="{5B851C51-11B9-431E-9DFB-635E13DF604D}" srcOrd="6" destOrd="0" presId="urn:microsoft.com/office/officeart/2005/8/layout/radial6"/>
    <dgm:cxn modelId="{204F7890-5CE2-4D6F-9026-5D12A62B0589}" type="presParOf" srcId="{56675002-99D3-4456-BB98-BAFEAB40E060}" destId="{E96ED2BC-7F66-49BF-87BF-4063B76ECCE1}" srcOrd="7" destOrd="0" presId="urn:microsoft.com/office/officeart/2005/8/layout/radial6"/>
    <dgm:cxn modelId="{417ED7B0-8F6A-49D9-9679-4EAE47062486}" type="presParOf" srcId="{56675002-99D3-4456-BB98-BAFEAB40E060}" destId="{ADC95EBA-CE0A-4CB3-B41C-67AD8C722E39}" srcOrd="8" destOrd="0" presId="urn:microsoft.com/office/officeart/2005/8/layout/radial6"/>
    <dgm:cxn modelId="{7CE25B1C-5026-4EE2-8EA1-CCB9A2AE7B13}" type="presParOf" srcId="{56675002-99D3-4456-BB98-BAFEAB40E060}" destId="{23956C06-BCDF-4AF7-99D0-0999AEFFC186}" srcOrd="9" destOrd="0" presId="urn:microsoft.com/office/officeart/2005/8/layout/radial6"/>
    <dgm:cxn modelId="{1A818FD6-1C58-4FD3-9990-9CDE5D4BBF60}" type="presParOf" srcId="{56675002-99D3-4456-BB98-BAFEAB40E060}" destId="{B97EF70B-6154-410F-985C-9C1FE38BB469}" srcOrd="10" destOrd="0" presId="urn:microsoft.com/office/officeart/2005/8/layout/radial6"/>
    <dgm:cxn modelId="{3FD36F28-7719-4E29-A447-C7971FDE74C9}" type="presParOf" srcId="{56675002-99D3-4456-BB98-BAFEAB40E060}" destId="{45BE2194-074C-4914-8F81-C02BC87D70F5}" srcOrd="11" destOrd="0" presId="urn:microsoft.com/office/officeart/2005/8/layout/radial6"/>
    <dgm:cxn modelId="{500BCFE6-4CCD-414C-BBC8-6E31DD977E78}" type="presParOf" srcId="{56675002-99D3-4456-BB98-BAFEAB40E060}" destId="{928964B4-47FD-4BCD-9DAE-27ED367659A6}" srcOrd="12" destOrd="0" presId="urn:microsoft.com/office/officeart/2005/8/layout/radial6"/>
    <dgm:cxn modelId="{93B7D665-23C7-4381-B1E8-6CD0EE0C77F1}" type="presParOf" srcId="{56675002-99D3-4456-BB98-BAFEAB40E060}" destId="{FAEA06C7-9021-4548-862C-93C9F1ADC6E4}" srcOrd="13" destOrd="0" presId="urn:microsoft.com/office/officeart/2005/8/layout/radial6"/>
    <dgm:cxn modelId="{C77AEA7F-0D1C-439F-9022-F7B0C9678E96}" type="presParOf" srcId="{56675002-99D3-4456-BB98-BAFEAB40E060}" destId="{DE2BB87E-DB82-432A-B391-455FF74776F3}" srcOrd="14" destOrd="0" presId="urn:microsoft.com/office/officeart/2005/8/layout/radial6"/>
    <dgm:cxn modelId="{252A6D98-18AE-4C45-9312-54384FF0507F}" type="presParOf" srcId="{56675002-99D3-4456-BB98-BAFEAB40E060}" destId="{C79B882E-7BAE-40E6-81B0-3918E9F61082}" srcOrd="15" destOrd="0" presId="urn:microsoft.com/office/officeart/2005/8/layout/radial6"/>
    <dgm:cxn modelId="{636A94BD-3CF7-42E2-99EE-4353B2CB9FE8}" type="presParOf" srcId="{56675002-99D3-4456-BB98-BAFEAB40E060}" destId="{20365B38-D7BF-4500-88FE-AF174FA7A1EE}" srcOrd="16" destOrd="0" presId="urn:microsoft.com/office/officeart/2005/8/layout/radial6"/>
    <dgm:cxn modelId="{6A4EA273-027D-4783-9C1E-2EFB4BB7D37B}" type="presParOf" srcId="{56675002-99D3-4456-BB98-BAFEAB40E060}" destId="{DC18B7DD-8167-447F-B833-5A34BBF1BC8A}" srcOrd="17" destOrd="0" presId="urn:microsoft.com/office/officeart/2005/8/layout/radial6"/>
    <dgm:cxn modelId="{4DA9DC7A-AF47-41B4-977D-F4092FAC7606}" type="presParOf" srcId="{56675002-99D3-4456-BB98-BAFEAB40E060}" destId="{7871B322-3BEE-4A39-A74E-0743729EF641}" srcOrd="18" destOrd="0" presId="urn:microsoft.com/office/officeart/2005/8/layout/radial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D8CB35D-9AA8-4D3B-85BD-0C98676B30A3}" type="doc">
      <dgm:prSet loTypeId="urn:microsoft.com/office/officeart/2008/layout/CircleAccentTimeline" loCatId="process" qsTypeId="urn:microsoft.com/office/officeart/2005/8/quickstyle/simple1" qsCatId="simple" csTypeId="urn:microsoft.com/office/officeart/2005/8/colors/accent6_3" csCatId="accent6" phldr="1"/>
      <dgm:spPr/>
      <dgm:t>
        <a:bodyPr/>
        <a:lstStyle/>
        <a:p>
          <a:endParaRPr lang="pt-BR"/>
        </a:p>
      </dgm:t>
    </dgm:pt>
    <dgm:pt modelId="{26566767-DCC0-4231-911B-DF7E9F672A5E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Setup inicial do Projeto RAID-FMS</a:t>
          </a:r>
          <a:endParaRPr lang="pt-BR" dirty="0">
            <a:latin typeface="Simplon BP Regular" pitchFamily="2" charset="0"/>
          </a:endParaRPr>
        </a:p>
      </dgm:t>
    </dgm:pt>
    <dgm:pt modelId="{A2092705-1AF7-46AC-8EBA-770D8371CA18}" type="parTrans" cxnId="{759640F5-3B3C-4255-B696-7C8AB98AFFA9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6E1566C3-BB28-4580-B079-0BF96AF88419}" type="sibTrans" cxnId="{759640F5-3B3C-4255-B696-7C8AB98AFFA9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C7C7A2F3-4812-4F69-970D-66ACBF5D1559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Arquitetura física </a:t>
          </a:r>
          <a:endParaRPr lang="pt-BR" dirty="0">
            <a:latin typeface="Simplon BP Regular" pitchFamily="2" charset="0"/>
          </a:endParaRPr>
        </a:p>
      </dgm:t>
    </dgm:pt>
    <dgm:pt modelId="{F8523C37-3D7C-496F-8639-AACF87921392}" type="parTrans" cxnId="{DE3D1B99-AF66-4DAF-AF64-257C4A906EDD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2160F81B-E270-4FFF-8EA0-8E2A6A32953B}" type="sibTrans" cxnId="{DE3D1B99-AF66-4DAF-AF64-257C4A906EDD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5A4F4D41-DDF6-494A-8DDF-DBA20DF76974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NDS e </a:t>
          </a:r>
          <a:r>
            <a:rPr lang="pt-BR" dirty="0" err="1" smtClean="0">
              <a:latin typeface="Simplon BP Regular" pitchFamily="2" charset="0"/>
            </a:rPr>
            <a:t>Compliance</a:t>
          </a:r>
          <a:r>
            <a:rPr lang="pt-BR" dirty="0" smtClean="0">
              <a:latin typeface="Simplon BP Regular" pitchFamily="2" charset="0"/>
            </a:rPr>
            <a:t> SI</a:t>
          </a:r>
          <a:endParaRPr lang="pt-BR" dirty="0">
            <a:latin typeface="Simplon BP Regular" pitchFamily="2" charset="0"/>
          </a:endParaRPr>
        </a:p>
      </dgm:t>
    </dgm:pt>
    <dgm:pt modelId="{1151E5EA-0103-462A-B969-10246FCB6120}" type="parTrans" cxnId="{C4DA5776-1389-492B-9185-A0B1B842ADE3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7E922CEC-986E-427E-8CAC-FE2ADD87AAE1}" type="sibTrans" cxnId="{C4DA5776-1389-492B-9185-A0B1B842ADE3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31715DCE-1033-4F51-AA7E-996A37078C2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OI TV off-line</a:t>
          </a:r>
          <a:endParaRPr lang="pt-BR" dirty="0">
            <a:latin typeface="Simplon BP Regular" pitchFamily="2" charset="0"/>
          </a:endParaRPr>
        </a:p>
      </dgm:t>
    </dgm:pt>
    <dgm:pt modelId="{B39B534A-E900-4C50-9B97-9FA90BE57A88}" type="parTrans" cxnId="{E39D2092-86B5-4605-A89B-5A4845451C08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F9E991BD-6677-4EFD-8A6E-9B02290356F4}" type="sibTrans" cxnId="{E39D2092-86B5-4605-A89B-5A4845451C08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7DC18236-30EB-4302-A4DA-2190886A08E9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Instalação FMS </a:t>
          </a:r>
          <a:r>
            <a:rPr lang="pt-BR" dirty="0" err="1" smtClean="0">
              <a:latin typeface="Simplon BP Regular" pitchFamily="2" charset="0"/>
            </a:rPr>
            <a:t>vanila</a:t>
          </a:r>
          <a:endParaRPr lang="pt-BR" dirty="0">
            <a:latin typeface="Simplon BP Regular" pitchFamily="2" charset="0"/>
          </a:endParaRPr>
        </a:p>
      </dgm:t>
    </dgm:pt>
    <dgm:pt modelId="{5226747E-1F3F-4544-A490-D72812649869}" type="parTrans" cxnId="{BDC3B72E-0527-4D43-8C8C-47DE50D8533C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A3714163-7465-460C-B689-F1432FA66DF2}" type="sibTrans" cxnId="{BDC3B72E-0527-4D43-8C8C-47DE50D8533C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57D3AE1B-73A5-48A4-9A09-1A300CDA4E8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Programa 1 Cadastro/Subscrição e Score externo</a:t>
          </a:r>
          <a:endParaRPr lang="pt-BR" dirty="0">
            <a:latin typeface="Simplon BP Regular" pitchFamily="2" charset="0"/>
          </a:endParaRPr>
        </a:p>
      </dgm:t>
    </dgm:pt>
    <dgm:pt modelId="{4F68B22E-2095-4F18-948D-3D45345C9EBD}" type="parTrans" cxnId="{8C714905-7576-4B2D-97CF-4B4157564734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9AF49E6B-4C65-4948-8F33-6E992478EDEF}" type="sibTrans" cxnId="{8C714905-7576-4B2D-97CF-4B4157564734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776EC1F7-996A-4DD0-A761-236B8084FE3C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Planejamento, </a:t>
          </a:r>
          <a:r>
            <a:rPr lang="pt-BR" dirty="0" err="1" smtClean="0">
              <a:latin typeface="Simplon BP Regular" pitchFamily="2" charset="0"/>
            </a:rPr>
            <a:t>scoping</a:t>
          </a:r>
          <a:r>
            <a:rPr lang="pt-BR" dirty="0" smtClean="0">
              <a:latin typeface="Simplon BP Regular" pitchFamily="2" charset="0"/>
            </a:rPr>
            <a:t> e </a:t>
          </a:r>
          <a:r>
            <a:rPr lang="pt-BR" dirty="0" err="1" smtClean="0">
              <a:latin typeface="Simplon BP Regular" pitchFamily="2" charset="0"/>
            </a:rPr>
            <a:t>Kick</a:t>
          </a:r>
          <a:r>
            <a:rPr lang="pt-BR" dirty="0" smtClean="0">
              <a:latin typeface="Simplon BP Regular" pitchFamily="2" charset="0"/>
            </a:rPr>
            <a:t>-off Programa 1</a:t>
          </a:r>
          <a:endParaRPr lang="pt-BR" dirty="0">
            <a:latin typeface="Simplon BP Regular" pitchFamily="2" charset="0"/>
          </a:endParaRPr>
        </a:p>
      </dgm:t>
    </dgm:pt>
    <dgm:pt modelId="{85715835-C126-456E-B66C-D52AF0D21E7A}" type="parTrans" cxnId="{51CC282A-332E-4D31-A3C8-0B3023FFA162}">
      <dgm:prSet/>
      <dgm:spPr/>
      <dgm:t>
        <a:bodyPr/>
        <a:lstStyle/>
        <a:p>
          <a:endParaRPr lang="pt-BR"/>
        </a:p>
      </dgm:t>
    </dgm:pt>
    <dgm:pt modelId="{38770524-231E-4006-AE1B-7520970ED3E8}" type="sibTrans" cxnId="{51CC282A-332E-4D31-A3C8-0B3023FFA162}">
      <dgm:prSet/>
      <dgm:spPr/>
      <dgm:t>
        <a:bodyPr/>
        <a:lstStyle/>
        <a:p>
          <a:endParaRPr lang="pt-BR"/>
        </a:p>
      </dgm:t>
    </dgm:pt>
    <dgm:pt modelId="{AD47C804-6BCC-4DBF-BB15-E03DC61E03B9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OI Fixo R2 off-line</a:t>
          </a:r>
          <a:endParaRPr lang="pt-BR" dirty="0">
            <a:latin typeface="Simplon BP Regular" pitchFamily="2" charset="0"/>
          </a:endParaRPr>
        </a:p>
      </dgm:t>
    </dgm:pt>
    <dgm:pt modelId="{59D69028-5AFB-42D5-AED0-4DA4B138E63C}" type="parTrans" cxnId="{F0A3AD09-BD83-407D-B48C-B1B325D6F35E}">
      <dgm:prSet/>
      <dgm:spPr/>
      <dgm:t>
        <a:bodyPr/>
        <a:lstStyle/>
        <a:p>
          <a:endParaRPr lang="pt-BR"/>
        </a:p>
      </dgm:t>
    </dgm:pt>
    <dgm:pt modelId="{EE2326E8-1323-4F79-A0FD-AE89729D24D6}" type="sibTrans" cxnId="{F0A3AD09-BD83-407D-B48C-B1B325D6F35E}">
      <dgm:prSet/>
      <dgm:spPr/>
      <dgm:t>
        <a:bodyPr/>
        <a:lstStyle/>
        <a:p>
          <a:endParaRPr lang="pt-BR"/>
        </a:p>
      </dgm:t>
    </dgm:pt>
    <dgm:pt modelId="{3BB52753-ADB0-4BB6-8892-2A780252071D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OI TV Online</a:t>
          </a:r>
          <a:endParaRPr lang="pt-BR" dirty="0">
            <a:latin typeface="Simplon BP Regular" pitchFamily="2" charset="0"/>
          </a:endParaRPr>
        </a:p>
      </dgm:t>
    </dgm:pt>
    <dgm:pt modelId="{AFE8199E-AEBE-427E-8575-5D3465B6D755}" type="parTrans" cxnId="{7DA0130F-E37F-4618-82CF-FEFD9864A3C8}">
      <dgm:prSet/>
      <dgm:spPr/>
      <dgm:t>
        <a:bodyPr/>
        <a:lstStyle/>
        <a:p>
          <a:endParaRPr lang="pt-BR"/>
        </a:p>
      </dgm:t>
    </dgm:pt>
    <dgm:pt modelId="{1C8E540D-7B46-4518-9099-0937C9256430}" type="sibTrans" cxnId="{7DA0130F-E37F-4618-82CF-FEFD9864A3C8}">
      <dgm:prSet/>
      <dgm:spPr/>
      <dgm:t>
        <a:bodyPr/>
        <a:lstStyle/>
        <a:p>
          <a:endParaRPr lang="pt-BR"/>
        </a:p>
      </dgm:t>
    </dgm:pt>
    <dgm:pt modelId="{DBC45600-1869-4512-A3AB-AA97CD7EB4A9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...</a:t>
          </a:r>
          <a:endParaRPr lang="pt-BR" dirty="0">
            <a:latin typeface="Simplon BP Regular" pitchFamily="2" charset="0"/>
          </a:endParaRPr>
        </a:p>
      </dgm:t>
    </dgm:pt>
    <dgm:pt modelId="{16498317-318F-4429-8126-9630370E148E}" type="parTrans" cxnId="{F0340E11-4A53-4D0E-8F40-85635216F016}">
      <dgm:prSet/>
      <dgm:spPr/>
      <dgm:t>
        <a:bodyPr/>
        <a:lstStyle/>
        <a:p>
          <a:endParaRPr lang="pt-BR"/>
        </a:p>
      </dgm:t>
    </dgm:pt>
    <dgm:pt modelId="{F882C3DF-3E75-4E91-BA5E-46A9A7E0E4AC}" type="sibTrans" cxnId="{F0340E11-4A53-4D0E-8F40-85635216F016}">
      <dgm:prSet/>
      <dgm:spPr/>
      <dgm:t>
        <a:bodyPr/>
        <a:lstStyle/>
        <a:p>
          <a:endParaRPr lang="pt-BR"/>
        </a:p>
      </dgm:t>
    </dgm:pt>
    <dgm:pt modelId="{1A704293-4A00-4269-9793-84EF60BB46E7}" type="pres">
      <dgm:prSet presAssocID="{FD8CB35D-9AA8-4D3B-85BD-0C98676B30A3}" presName="Name0" presStyleCnt="0">
        <dgm:presLayoutVars>
          <dgm:dir/>
        </dgm:presLayoutVars>
      </dgm:prSet>
      <dgm:spPr/>
      <dgm:t>
        <a:bodyPr/>
        <a:lstStyle/>
        <a:p>
          <a:endParaRPr lang="pt-BR"/>
        </a:p>
      </dgm:t>
    </dgm:pt>
    <dgm:pt modelId="{A4C70CCE-E506-430D-8CE9-E3F0C822F8C1}" type="pres">
      <dgm:prSet presAssocID="{26566767-DCC0-4231-911B-DF7E9F672A5E}" presName="parComposite" presStyleCnt="0"/>
      <dgm:spPr/>
    </dgm:pt>
    <dgm:pt modelId="{56AEF2CF-BD74-47E9-9224-4EAC05CF5B8D}" type="pres">
      <dgm:prSet presAssocID="{26566767-DCC0-4231-911B-DF7E9F672A5E}" presName="parBigCircle" presStyleLbl="node0" presStyleIdx="0" presStyleCnt="2" custLinFactNeighborX="-1773"/>
      <dgm:spPr/>
    </dgm:pt>
    <dgm:pt modelId="{6F73384A-DB24-4E9B-9313-3EFB3DDE8577}" type="pres">
      <dgm:prSet presAssocID="{26566767-DCC0-4231-911B-DF7E9F672A5E}" presName="parTx" presStyleLbl="revTx" presStyleIdx="0" presStyleCnt="18"/>
      <dgm:spPr/>
      <dgm:t>
        <a:bodyPr/>
        <a:lstStyle/>
        <a:p>
          <a:endParaRPr lang="pt-BR"/>
        </a:p>
      </dgm:t>
    </dgm:pt>
    <dgm:pt modelId="{12B297DC-E2BD-43F9-AB76-F334910D5A94}" type="pres">
      <dgm:prSet presAssocID="{26566767-DCC0-4231-911B-DF7E9F672A5E}" presName="bSpace" presStyleCnt="0"/>
      <dgm:spPr/>
    </dgm:pt>
    <dgm:pt modelId="{C054349A-9079-4978-A10C-80B4000B73E6}" type="pres">
      <dgm:prSet presAssocID="{26566767-DCC0-4231-911B-DF7E9F672A5E}" presName="parBackupNorm" presStyleCnt="0"/>
      <dgm:spPr/>
    </dgm:pt>
    <dgm:pt modelId="{24C5703B-3128-468D-93D7-5B64EFF7DC5D}" type="pres">
      <dgm:prSet presAssocID="{6E1566C3-BB28-4580-B079-0BF96AF88419}" presName="parSpace" presStyleCnt="0"/>
      <dgm:spPr/>
    </dgm:pt>
    <dgm:pt modelId="{C8C3D363-C41D-401A-AFB6-4434C784C1EC}" type="pres">
      <dgm:prSet presAssocID="{C7C7A2F3-4812-4F69-970D-66ACBF5D1559}" presName="desBackupLeftNorm" presStyleCnt="0"/>
      <dgm:spPr/>
    </dgm:pt>
    <dgm:pt modelId="{F8A11BC1-02E6-4CDC-AF95-1C0410A3A4A7}" type="pres">
      <dgm:prSet presAssocID="{C7C7A2F3-4812-4F69-970D-66ACBF5D1559}" presName="desComposite" presStyleCnt="0"/>
      <dgm:spPr/>
    </dgm:pt>
    <dgm:pt modelId="{988C035B-BE7B-49C8-9002-27080AEB6D54}" type="pres">
      <dgm:prSet presAssocID="{C7C7A2F3-4812-4F69-970D-66ACBF5D1559}" presName="desCircle" presStyleLbl="node1" presStyleIdx="0" presStyleCnt="8"/>
      <dgm:spPr/>
    </dgm:pt>
    <dgm:pt modelId="{6FC2B767-AFE4-4C94-BFD2-2853D88B54E5}" type="pres">
      <dgm:prSet presAssocID="{C7C7A2F3-4812-4F69-970D-66ACBF5D1559}" presName="chTx" presStyleLbl="revTx" presStyleIdx="1" presStyleCnt="18"/>
      <dgm:spPr/>
      <dgm:t>
        <a:bodyPr/>
        <a:lstStyle/>
        <a:p>
          <a:endParaRPr lang="pt-BR"/>
        </a:p>
      </dgm:t>
    </dgm:pt>
    <dgm:pt modelId="{28CB7A41-49F4-4D56-842A-D68F369A6307}" type="pres">
      <dgm:prSet presAssocID="{C7C7A2F3-4812-4F69-970D-66ACBF5D1559}" presName="desTx" presStyleLbl="revTx" presStyleIdx="2" presStyleCnt="18">
        <dgm:presLayoutVars>
          <dgm:bulletEnabled val="1"/>
        </dgm:presLayoutVars>
      </dgm:prSet>
      <dgm:spPr/>
    </dgm:pt>
    <dgm:pt modelId="{2E05AE3C-6A23-4215-B26B-538A0976C366}" type="pres">
      <dgm:prSet presAssocID="{C7C7A2F3-4812-4F69-970D-66ACBF5D1559}" presName="desBackupRightNorm" presStyleCnt="0"/>
      <dgm:spPr/>
    </dgm:pt>
    <dgm:pt modelId="{005D9CD6-8A5B-4B3C-9772-455DA646C6D5}" type="pres">
      <dgm:prSet presAssocID="{2160F81B-E270-4FFF-8EA0-8E2A6A32953B}" presName="desSpace" presStyleCnt="0"/>
      <dgm:spPr/>
    </dgm:pt>
    <dgm:pt modelId="{F5F5C2A5-CD2A-4BF3-9E7D-9CC3E927F990}" type="pres">
      <dgm:prSet presAssocID="{5A4F4D41-DDF6-494A-8DDF-DBA20DF76974}" presName="desBackupLeftNorm" presStyleCnt="0"/>
      <dgm:spPr/>
    </dgm:pt>
    <dgm:pt modelId="{00904F4D-D009-481C-BDD7-C81BF30DD670}" type="pres">
      <dgm:prSet presAssocID="{5A4F4D41-DDF6-494A-8DDF-DBA20DF76974}" presName="desComposite" presStyleCnt="0"/>
      <dgm:spPr/>
    </dgm:pt>
    <dgm:pt modelId="{46B25F0D-D431-4949-81A0-676174D34183}" type="pres">
      <dgm:prSet presAssocID="{5A4F4D41-DDF6-494A-8DDF-DBA20DF76974}" presName="desCircle" presStyleLbl="node1" presStyleIdx="1" presStyleCnt="8"/>
      <dgm:spPr/>
    </dgm:pt>
    <dgm:pt modelId="{593E5578-D846-4CF3-A9D5-73E453066575}" type="pres">
      <dgm:prSet presAssocID="{5A4F4D41-DDF6-494A-8DDF-DBA20DF76974}" presName="chTx" presStyleLbl="revTx" presStyleIdx="3" presStyleCnt="18"/>
      <dgm:spPr/>
      <dgm:t>
        <a:bodyPr/>
        <a:lstStyle/>
        <a:p>
          <a:endParaRPr lang="pt-BR"/>
        </a:p>
      </dgm:t>
    </dgm:pt>
    <dgm:pt modelId="{A1AA65C6-9A13-4697-920B-109CDD4DDA94}" type="pres">
      <dgm:prSet presAssocID="{5A4F4D41-DDF6-494A-8DDF-DBA20DF76974}" presName="desTx" presStyleLbl="revTx" presStyleIdx="4" presStyleCnt="18">
        <dgm:presLayoutVars>
          <dgm:bulletEnabled val="1"/>
        </dgm:presLayoutVars>
      </dgm:prSet>
      <dgm:spPr/>
    </dgm:pt>
    <dgm:pt modelId="{6E357F85-05B6-4B53-9066-7FB07E9EAA3E}" type="pres">
      <dgm:prSet presAssocID="{5A4F4D41-DDF6-494A-8DDF-DBA20DF76974}" presName="desBackupRightNorm" presStyleCnt="0"/>
      <dgm:spPr/>
    </dgm:pt>
    <dgm:pt modelId="{387B4C12-958B-44D9-A807-6D6D9A880085}" type="pres">
      <dgm:prSet presAssocID="{7E922CEC-986E-427E-8CAC-FE2ADD87AAE1}" presName="desSpace" presStyleCnt="0"/>
      <dgm:spPr/>
    </dgm:pt>
    <dgm:pt modelId="{84CCE456-9A31-4DEE-BAB7-3AAB4DB7BF78}" type="pres">
      <dgm:prSet presAssocID="{7DC18236-30EB-4302-A4DA-2190886A08E9}" presName="desBackupLeftNorm" presStyleCnt="0"/>
      <dgm:spPr/>
    </dgm:pt>
    <dgm:pt modelId="{DC73377C-628A-4405-9964-724C2189D1E3}" type="pres">
      <dgm:prSet presAssocID="{7DC18236-30EB-4302-A4DA-2190886A08E9}" presName="desComposite" presStyleCnt="0"/>
      <dgm:spPr/>
    </dgm:pt>
    <dgm:pt modelId="{3FC968D4-1463-4BB8-8E4F-74B77036556E}" type="pres">
      <dgm:prSet presAssocID="{7DC18236-30EB-4302-A4DA-2190886A08E9}" presName="desCircle" presStyleLbl="node1" presStyleIdx="2" presStyleCnt="8"/>
      <dgm:spPr/>
    </dgm:pt>
    <dgm:pt modelId="{02CA001B-E24E-4625-8CFA-1A6C755C930E}" type="pres">
      <dgm:prSet presAssocID="{7DC18236-30EB-4302-A4DA-2190886A08E9}" presName="chTx" presStyleLbl="revTx" presStyleIdx="5" presStyleCnt="18"/>
      <dgm:spPr/>
      <dgm:t>
        <a:bodyPr/>
        <a:lstStyle/>
        <a:p>
          <a:endParaRPr lang="pt-BR"/>
        </a:p>
      </dgm:t>
    </dgm:pt>
    <dgm:pt modelId="{E0FD4796-E7AB-488D-9336-DB3CCBEFE335}" type="pres">
      <dgm:prSet presAssocID="{7DC18236-30EB-4302-A4DA-2190886A08E9}" presName="desTx" presStyleLbl="revTx" presStyleIdx="6" presStyleCnt="18">
        <dgm:presLayoutVars>
          <dgm:bulletEnabled val="1"/>
        </dgm:presLayoutVars>
      </dgm:prSet>
      <dgm:spPr/>
    </dgm:pt>
    <dgm:pt modelId="{AE72B25E-0A65-488B-9C29-B1D763436A57}" type="pres">
      <dgm:prSet presAssocID="{7DC18236-30EB-4302-A4DA-2190886A08E9}" presName="desBackupRightNorm" presStyleCnt="0"/>
      <dgm:spPr/>
    </dgm:pt>
    <dgm:pt modelId="{341DCFA4-81F2-46C5-B89F-D9D6359A3202}" type="pres">
      <dgm:prSet presAssocID="{A3714163-7465-460C-B689-F1432FA66DF2}" presName="desSpace" presStyleCnt="0"/>
      <dgm:spPr/>
    </dgm:pt>
    <dgm:pt modelId="{B5ECE69A-1709-46E5-B808-E420C4621320}" type="pres">
      <dgm:prSet presAssocID="{776EC1F7-996A-4DD0-A761-236B8084FE3C}" presName="desBackupLeftNorm" presStyleCnt="0"/>
      <dgm:spPr/>
    </dgm:pt>
    <dgm:pt modelId="{61EE79E8-884E-4AB3-BBC9-A66BAE573D68}" type="pres">
      <dgm:prSet presAssocID="{776EC1F7-996A-4DD0-A761-236B8084FE3C}" presName="desComposite" presStyleCnt="0"/>
      <dgm:spPr/>
    </dgm:pt>
    <dgm:pt modelId="{40C4B2F5-DDA6-41E2-B2AF-97E4F39909E6}" type="pres">
      <dgm:prSet presAssocID="{776EC1F7-996A-4DD0-A761-236B8084FE3C}" presName="desCircle" presStyleLbl="node1" presStyleIdx="3" presStyleCnt="8"/>
      <dgm:spPr/>
    </dgm:pt>
    <dgm:pt modelId="{F56B5539-3C77-47E1-8754-B43314A96F14}" type="pres">
      <dgm:prSet presAssocID="{776EC1F7-996A-4DD0-A761-236B8084FE3C}" presName="chTx" presStyleLbl="revTx" presStyleIdx="7" presStyleCnt="18"/>
      <dgm:spPr/>
      <dgm:t>
        <a:bodyPr/>
        <a:lstStyle/>
        <a:p>
          <a:endParaRPr lang="pt-BR"/>
        </a:p>
      </dgm:t>
    </dgm:pt>
    <dgm:pt modelId="{0566B732-D545-48BE-881E-52A791DA4ABA}" type="pres">
      <dgm:prSet presAssocID="{776EC1F7-996A-4DD0-A761-236B8084FE3C}" presName="desTx" presStyleLbl="revTx" presStyleIdx="8" presStyleCnt="18">
        <dgm:presLayoutVars>
          <dgm:bulletEnabled val="1"/>
        </dgm:presLayoutVars>
      </dgm:prSet>
      <dgm:spPr/>
    </dgm:pt>
    <dgm:pt modelId="{8B6973B3-817C-49CE-93D5-F952D3681F10}" type="pres">
      <dgm:prSet presAssocID="{776EC1F7-996A-4DD0-A761-236B8084FE3C}" presName="desBackupRightNorm" presStyleCnt="0"/>
      <dgm:spPr/>
    </dgm:pt>
    <dgm:pt modelId="{0E1C1D2A-502D-48CE-AEC8-7488D876E2ED}" type="pres">
      <dgm:prSet presAssocID="{38770524-231E-4006-AE1B-7520970ED3E8}" presName="desSpace" presStyleCnt="0"/>
      <dgm:spPr/>
    </dgm:pt>
    <dgm:pt modelId="{7803BCF7-F0D7-4B1D-A3EF-8292C734420A}" type="pres">
      <dgm:prSet presAssocID="{57D3AE1B-73A5-48A4-9A09-1A300CDA4E8B}" presName="parComposite" presStyleCnt="0"/>
      <dgm:spPr/>
    </dgm:pt>
    <dgm:pt modelId="{F87B6F15-59C6-4659-B141-44CA8308F192}" type="pres">
      <dgm:prSet presAssocID="{57D3AE1B-73A5-48A4-9A09-1A300CDA4E8B}" presName="parBigCircle" presStyleLbl="node0" presStyleIdx="1" presStyleCnt="2"/>
      <dgm:spPr/>
    </dgm:pt>
    <dgm:pt modelId="{3EDE9DD2-3243-430B-BFDF-DB42C8C39F0F}" type="pres">
      <dgm:prSet presAssocID="{57D3AE1B-73A5-48A4-9A09-1A300CDA4E8B}" presName="parTx" presStyleLbl="revTx" presStyleIdx="9" presStyleCnt="18"/>
      <dgm:spPr/>
      <dgm:t>
        <a:bodyPr/>
        <a:lstStyle/>
        <a:p>
          <a:endParaRPr lang="pt-BR"/>
        </a:p>
      </dgm:t>
    </dgm:pt>
    <dgm:pt modelId="{54070C43-6009-4E1C-BA92-33271047321C}" type="pres">
      <dgm:prSet presAssocID="{57D3AE1B-73A5-48A4-9A09-1A300CDA4E8B}" presName="bSpace" presStyleCnt="0"/>
      <dgm:spPr/>
    </dgm:pt>
    <dgm:pt modelId="{7F10A9E6-0663-41C6-93C4-F47FB7BD746A}" type="pres">
      <dgm:prSet presAssocID="{57D3AE1B-73A5-48A4-9A09-1A300CDA4E8B}" presName="parBackupNorm" presStyleCnt="0"/>
      <dgm:spPr/>
    </dgm:pt>
    <dgm:pt modelId="{77DCCE78-72A1-491E-BC8D-F3AF5E37D4A8}" type="pres">
      <dgm:prSet presAssocID="{9AF49E6B-4C65-4948-8F33-6E992478EDEF}" presName="parSpace" presStyleCnt="0"/>
      <dgm:spPr/>
    </dgm:pt>
    <dgm:pt modelId="{C74E053A-3AC0-4730-9A92-0F2249A35D8A}" type="pres">
      <dgm:prSet presAssocID="{31715DCE-1033-4F51-AA7E-996A37078C2B}" presName="desBackupLeftNorm" presStyleCnt="0"/>
      <dgm:spPr/>
    </dgm:pt>
    <dgm:pt modelId="{42921E3A-CF41-49D9-A8B2-F862DACD1455}" type="pres">
      <dgm:prSet presAssocID="{31715DCE-1033-4F51-AA7E-996A37078C2B}" presName="desComposite" presStyleCnt="0"/>
      <dgm:spPr/>
    </dgm:pt>
    <dgm:pt modelId="{8DBDFD54-FA06-4E78-B1F9-B5C24B106AA5}" type="pres">
      <dgm:prSet presAssocID="{31715DCE-1033-4F51-AA7E-996A37078C2B}" presName="desCircle" presStyleLbl="node1" presStyleIdx="4" presStyleCnt="8"/>
      <dgm:spPr/>
    </dgm:pt>
    <dgm:pt modelId="{EB6A5027-8CC0-4067-8103-7E8095435049}" type="pres">
      <dgm:prSet presAssocID="{31715DCE-1033-4F51-AA7E-996A37078C2B}" presName="chTx" presStyleLbl="revTx" presStyleIdx="10" presStyleCnt="18"/>
      <dgm:spPr/>
      <dgm:t>
        <a:bodyPr/>
        <a:lstStyle/>
        <a:p>
          <a:endParaRPr lang="pt-BR"/>
        </a:p>
      </dgm:t>
    </dgm:pt>
    <dgm:pt modelId="{B8523729-5ED9-4781-9993-ED44EE714E76}" type="pres">
      <dgm:prSet presAssocID="{31715DCE-1033-4F51-AA7E-996A37078C2B}" presName="desTx" presStyleLbl="revTx" presStyleIdx="11" presStyleCnt="18">
        <dgm:presLayoutVars>
          <dgm:bulletEnabled val="1"/>
        </dgm:presLayoutVars>
      </dgm:prSet>
      <dgm:spPr/>
    </dgm:pt>
    <dgm:pt modelId="{2157E965-1A58-4647-B54C-41301E78F91D}" type="pres">
      <dgm:prSet presAssocID="{31715DCE-1033-4F51-AA7E-996A37078C2B}" presName="desBackupRightNorm" presStyleCnt="0"/>
      <dgm:spPr/>
    </dgm:pt>
    <dgm:pt modelId="{2CE77E30-7D1E-4313-BA7A-72425E4B9296}" type="pres">
      <dgm:prSet presAssocID="{F9E991BD-6677-4EFD-8A6E-9B02290356F4}" presName="desSpace" presStyleCnt="0"/>
      <dgm:spPr/>
    </dgm:pt>
    <dgm:pt modelId="{C01DFA6D-43E5-4429-A9B3-E2886C2B08AB}" type="pres">
      <dgm:prSet presAssocID="{AD47C804-6BCC-4DBF-BB15-E03DC61E03B9}" presName="desBackupLeftNorm" presStyleCnt="0"/>
      <dgm:spPr/>
    </dgm:pt>
    <dgm:pt modelId="{7679D52D-7B5F-4A0F-9F3A-A6C3FF6AA255}" type="pres">
      <dgm:prSet presAssocID="{AD47C804-6BCC-4DBF-BB15-E03DC61E03B9}" presName="desComposite" presStyleCnt="0"/>
      <dgm:spPr/>
    </dgm:pt>
    <dgm:pt modelId="{98F6187D-F3FF-4676-8B83-7A42AA5EA52A}" type="pres">
      <dgm:prSet presAssocID="{AD47C804-6BCC-4DBF-BB15-E03DC61E03B9}" presName="desCircle" presStyleLbl="node1" presStyleIdx="5" presStyleCnt="8"/>
      <dgm:spPr/>
    </dgm:pt>
    <dgm:pt modelId="{BF4020F7-F215-45CC-8770-28C12A152C49}" type="pres">
      <dgm:prSet presAssocID="{AD47C804-6BCC-4DBF-BB15-E03DC61E03B9}" presName="chTx" presStyleLbl="revTx" presStyleIdx="12" presStyleCnt="18"/>
      <dgm:spPr/>
      <dgm:t>
        <a:bodyPr/>
        <a:lstStyle/>
        <a:p>
          <a:endParaRPr lang="pt-BR"/>
        </a:p>
      </dgm:t>
    </dgm:pt>
    <dgm:pt modelId="{9D3D5B97-3DE5-4600-B2D0-2F52A3508BAB}" type="pres">
      <dgm:prSet presAssocID="{AD47C804-6BCC-4DBF-BB15-E03DC61E03B9}" presName="desTx" presStyleLbl="revTx" presStyleIdx="13" presStyleCnt="18">
        <dgm:presLayoutVars>
          <dgm:bulletEnabled val="1"/>
        </dgm:presLayoutVars>
      </dgm:prSet>
      <dgm:spPr/>
    </dgm:pt>
    <dgm:pt modelId="{AAA258DE-25B0-4EEC-AE45-3BD52C790DDE}" type="pres">
      <dgm:prSet presAssocID="{AD47C804-6BCC-4DBF-BB15-E03DC61E03B9}" presName="desBackupRightNorm" presStyleCnt="0"/>
      <dgm:spPr/>
    </dgm:pt>
    <dgm:pt modelId="{73CBFFD3-6A7B-4D17-8702-83FFF281EEA4}" type="pres">
      <dgm:prSet presAssocID="{EE2326E8-1323-4F79-A0FD-AE89729D24D6}" presName="desSpace" presStyleCnt="0"/>
      <dgm:spPr/>
    </dgm:pt>
    <dgm:pt modelId="{AF334E5A-D793-4FA0-A5C5-0D5AA4768030}" type="pres">
      <dgm:prSet presAssocID="{3BB52753-ADB0-4BB6-8892-2A780252071D}" presName="desBackupLeftNorm" presStyleCnt="0"/>
      <dgm:spPr/>
    </dgm:pt>
    <dgm:pt modelId="{52773FDC-4772-4F97-BC48-7D43FDF59697}" type="pres">
      <dgm:prSet presAssocID="{3BB52753-ADB0-4BB6-8892-2A780252071D}" presName="desComposite" presStyleCnt="0"/>
      <dgm:spPr/>
    </dgm:pt>
    <dgm:pt modelId="{285EB5AC-902D-472C-844D-916AF60547E4}" type="pres">
      <dgm:prSet presAssocID="{3BB52753-ADB0-4BB6-8892-2A780252071D}" presName="desCircle" presStyleLbl="node1" presStyleIdx="6" presStyleCnt="8"/>
      <dgm:spPr/>
    </dgm:pt>
    <dgm:pt modelId="{8CA68C6F-E3B6-46A7-A9B1-B780AB0310AB}" type="pres">
      <dgm:prSet presAssocID="{3BB52753-ADB0-4BB6-8892-2A780252071D}" presName="chTx" presStyleLbl="revTx" presStyleIdx="14" presStyleCnt="18"/>
      <dgm:spPr/>
      <dgm:t>
        <a:bodyPr/>
        <a:lstStyle/>
        <a:p>
          <a:endParaRPr lang="pt-BR"/>
        </a:p>
      </dgm:t>
    </dgm:pt>
    <dgm:pt modelId="{2BF1D30D-A645-461B-8B53-6D37647F8F3F}" type="pres">
      <dgm:prSet presAssocID="{3BB52753-ADB0-4BB6-8892-2A780252071D}" presName="desTx" presStyleLbl="revTx" presStyleIdx="15" presStyleCnt="18">
        <dgm:presLayoutVars>
          <dgm:bulletEnabled val="1"/>
        </dgm:presLayoutVars>
      </dgm:prSet>
      <dgm:spPr/>
    </dgm:pt>
    <dgm:pt modelId="{62DE114B-FE75-4C07-93B2-1FFC0F4EA50E}" type="pres">
      <dgm:prSet presAssocID="{3BB52753-ADB0-4BB6-8892-2A780252071D}" presName="desBackupRightNorm" presStyleCnt="0"/>
      <dgm:spPr/>
    </dgm:pt>
    <dgm:pt modelId="{EACB1369-3186-4D39-944D-48FC110BAFF2}" type="pres">
      <dgm:prSet presAssocID="{1C8E540D-7B46-4518-9099-0937C9256430}" presName="desSpace" presStyleCnt="0"/>
      <dgm:spPr/>
    </dgm:pt>
    <dgm:pt modelId="{514ACA26-0E7A-4799-8323-8E78A018FE1A}" type="pres">
      <dgm:prSet presAssocID="{DBC45600-1869-4512-A3AB-AA97CD7EB4A9}" presName="desBackupLeftNorm" presStyleCnt="0"/>
      <dgm:spPr/>
    </dgm:pt>
    <dgm:pt modelId="{5A25D132-820E-44C3-AAA4-0E752E0B8155}" type="pres">
      <dgm:prSet presAssocID="{DBC45600-1869-4512-A3AB-AA97CD7EB4A9}" presName="desComposite" presStyleCnt="0"/>
      <dgm:spPr/>
    </dgm:pt>
    <dgm:pt modelId="{B554C5DC-DEEA-4AE2-942F-B531DCD6A4BC}" type="pres">
      <dgm:prSet presAssocID="{DBC45600-1869-4512-A3AB-AA97CD7EB4A9}" presName="desCircle" presStyleLbl="node1" presStyleIdx="7" presStyleCnt="8"/>
      <dgm:spPr/>
    </dgm:pt>
    <dgm:pt modelId="{D0E61BE3-08C2-42D5-B308-61E0BFDF64D4}" type="pres">
      <dgm:prSet presAssocID="{DBC45600-1869-4512-A3AB-AA97CD7EB4A9}" presName="chTx" presStyleLbl="revTx" presStyleIdx="16" presStyleCnt="18"/>
      <dgm:spPr/>
      <dgm:t>
        <a:bodyPr/>
        <a:lstStyle/>
        <a:p>
          <a:endParaRPr lang="pt-BR"/>
        </a:p>
      </dgm:t>
    </dgm:pt>
    <dgm:pt modelId="{0B76364A-724C-4D60-B742-8B2007D3D83F}" type="pres">
      <dgm:prSet presAssocID="{DBC45600-1869-4512-A3AB-AA97CD7EB4A9}" presName="desTx" presStyleLbl="revTx" presStyleIdx="17" presStyleCnt="18">
        <dgm:presLayoutVars>
          <dgm:bulletEnabled val="1"/>
        </dgm:presLayoutVars>
      </dgm:prSet>
      <dgm:spPr/>
    </dgm:pt>
    <dgm:pt modelId="{9F886749-129F-4F94-8FDC-026B682698D1}" type="pres">
      <dgm:prSet presAssocID="{DBC45600-1869-4512-A3AB-AA97CD7EB4A9}" presName="desBackupRightNorm" presStyleCnt="0"/>
      <dgm:spPr/>
    </dgm:pt>
    <dgm:pt modelId="{AA708E94-3504-4DF0-823F-FB4565134AB9}" type="pres">
      <dgm:prSet presAssocID="{F882C3DF-3E75-4E91-BA5E-46A9A7E0E4AC}" presName="desSpace" presStyleCnt="0"/>
      <dgm:spPr/>
    </dgm:pt>
  </dgm:ptLst>
  <dgm:cxnLst>
    <dgm:cxn modelId="{99A77EDC-32E8-4D76-8FC9-F89BA58D7758}" type="presOf" srcId="{26566767-DCC0-4231-911B-DF7E9F672A5E}" destId="{6F73384A-DB24-4E9B-9313-3EFB3DDE8577}" srcOrd="0" destOrd="0" presId="urn:microsoft.com/office/officeart/2008/layout/CircleAccentTimeline"/>
    <dgm:cxn modelId="{89384354-CE3A-4838-B99A-D30B5C587384}" type="presOf" srcId="{31715DCE-1033-4F51-AA7E-996A37078C2B}" destId="{EB6A5027-8CC0-4067-8103-7E8095435049}" srcOrd="0" destOrd="0" presId="urn:microsoft.com/office/officeart/2008/layout/CircleAccentTimeline"/>
    <dgm:cxn modelId="{13B996DF-F952-4D11-9E4F-7EFFE1BA8E12}" type="presOf" srcId="{AD47C804-6BCC-4DBF-BB15-E03DC61E03B9}" destId="{BF4020F7-F215-45CC-8770-28C12A152C49}" srcOrd="0" destOrd="0" presId="urn:microsoft.com/office/officeart/2008/layout/CircleAccentTimeline"/>
    <dgm:cxn modelId="{F0340E11-4A53-4D0E-8F40-85635216F016}" srcId="{57D3AE1B-73A5-48A4-9A09-1A300CDA4E8B}" destId="{DBC45600-1869-4512-A3AB-AA97CD7EB4A9}" srcOrd="3" destOrd="0" parTransId="{16498317-318F-4429-8126-9630370E148E}" sibTransId="{F882C3DF-3E75-4E91-BA5E-46A9A7E0E4AC}"/>
    <dgm:cxn modelId="{E39D2092-86B5-4605-A89B-5A4845451C08}" srcId="{57D3AE1B-73A5-48A4-9A09-1A300CDA4E8B}" destId="{31715DCE-1033-4F51-AA7E-996A37078C2B}" srcOrd="0" destOrd="0" parTransId="{B39B534A-E900-4C50-9B97-9FA90BE57A88}" sibTransId="{F9E991BD-6677-4EFD-8A6E-9B02290356F4}"/>
    <dgm:cxn modelId="{F915DBFC-A35D-4399-94DC-7EC12AA866CA}" type="presOf" srcId="{C7C7A2F3-4812-4F69-970D-66ACBF5D1559}" destId="{6FC2B767-AFE4-4C94-BFD2-2853D88B54E5}" srcOrd="0" destOrd="0" presId="urn:microsoft.com/office/officeart/2008/layout/CircleAccentTimeline"/>
    <dgm:cxn modelId="{C4DA5776-1389-492B-9185-A0B1B842ADE3}" srcId="{26566767-DCC0-4231-911B-DF7E9F672A5E}" destId="{5A4F4D41-DDF6-494A-8DDF-DBA20DF76974}" srcOrd="1" destOrd="0" parTransId="{1151E5EA-0103-462A-B969-10246FCB6120}" sibTransId="{7E922CEC-986E-427E-8CAC-FE2ADD87AAE1}"/>
    <dgm:cxn modelId="{311EA7EB-B874-492D-9C47-9BABBC624AFA}" type="presOf" srcId="{FD8CB35D-9AA8-4D3B-85BD-0C98676B30A3}" destId="{1A704293-4A00-4269-9793-84EF60BB46E7}" srcOrd="0" destOrd="0" presId="urn:microsoft.com/office/officeart/2008/layout/CircleAccentTimeline"/>
    <dgm:cxn modelId="{F0A3AD09-BD83-407D-B48C-B1B325D6F35E}" srcId="{57D3AE1B-73A5-48A4-9A09-1A300CDA4E8B}" destId="{AD47C804-6BCC-4DBF-BB15-E03DC61E03B9}" srcOrd="1" destOrd="0" parTransId="{59D69028-5AFB-42D5-AED0-4DA4B138E63C}" sibTransId="{EE2326E8-1323-4F79-A0FD-AE89729D24D6}"/>
    <dgm:cxn modelId="{985DB421-09EA-415B-91C8-B01D6FEC2766}" type="presOf" srcId="{5A4F4D41-DDF6-494A-8DDF-DBA20DF76974}" destId="{593E5578-D846-4CF3-A9D5-73E453066575}" srcOrd="0" destOrd="0" presId="urn:microsoft.com/office/officeart/2008/layout/CircleAccentTimeline"/>
    <dgm:cxn modelId="{BDC3B72E-0527-4D43-8C8C-47DE50D8533C}" srcId="{26566767-DCC0-4231-911B-DF7E9F672A5E}" destId="{7DC18236-30EB-4302-A4DA-2190886A08E9}" srcOrd="2" destOrd="0" parTransId="{5226747E-1F3F-4544-A490-D72812649869}" sibTransId="{A3714163-7465-460C-B689-F1432FA66DF2}"/>
    <dgm:cxn modelId="{759640F5-3B3C-4255-B696-7C8AB98AFFA9}" srcId="{FD8CB35D-9AA8-4D3B-85BD-0C98676B30A3}" destId="{26566767-DCC0-4231-911B-DF7E9F672A5E}" srcOrd="0" destOrd="0" parTransId="{A2092705-1AF7-46AC-8EBA-770D8371CA18}" sibTransId="{6E1566C3-BB28-4580-B079-0BF96AF88419}"/>
    <dgm:cxn modelId="{DE3D1B99-AF66-4DAF-AF64-257C4A906EDD}" srcId="{26566767-DCC0-4231-911B-DF7E9F672A5E}" destId="{C7C7A2F3-4812-4F69-970D-66ACBF5D1559}" srcOrd="0" destOrd="0" parTransId="{F8523C37-3D7C-496F-8639-AACF87921392}" sibTransId="{2160F81B-E270-4FFF-8EA0-8E2A6A32953B}"/>
    <dgm:cxn modelId="{78B6C673-DC2A-4083-8992-644A7E3CD945}" type="presOf" srcId="{DBC45600-1869-4512-A3AB-AA97CD7EB4A9}" destId="{D0E61BE3-08C2-42D5-B308-61E0BFDF64D4}" srcOrd="0" destOrd="0" presId="urn:microsoft.com/office/officeart/2008/layout/CircleAccentTimeline"/>
    <dgm:cxn modelId="{51CC282A-332E-4D31-A3C8-0B3023FFA162}" srcId="{26566767-DCC0-4231-911B-DF7E9F672A5E}" destId="{776EC1F7-996A-4DD0-A761-236B8084FE3C}" srcOrd="3" destOrd="0" parTransId="{85715835-C126-456E-B66C-D52AF0D21E7A}" sibTransId="{38770524-231E-4006-AE1B-7520970ED3E8}"/>
    <dgm:cxn modelId="{8C714905-7576-4B2D-97CF-4B4157564734}" srcId="{FD8CB35D-9AA8-4D3B-85BD-0C98676B30A3}" destId="{57D3AE1B-73A5-48A4-9A09-1A300CDA4E8B}" srcOrd="1" destOrd="0" parTransId="{4F68B22E-2095-4F18-948D-3D45345C9EBD}" sibTransId="{9AF49E6B-4C65-4948-8F33-6E992478EDEF}"/>
    <dgm:cxn modelId="{7DA0130F-E37F-4618-82CF-FEFD9864A3C8}" srcId="{57D3AE1B-73A5-48A4-9A09-1A300CDA4E8B}" destId="{3BB52753-ADB0-4BB6-8892-2A780252071D}" srcOrd="2" destOrd="0" parTransId="{AFE8199E-AEBE-427E-8575-5D3465B6D755}" sibTransId="{1C8E540D-7B46-4518-9099-0937C9256430}"/>
    <dgm:cxn modelId="{7FCB2B35-0C6B-4E56-96E3-168D7B56B5F9}" type="presOf" srcId="{7DC18236-30EB-4302-A4DA-2190886A08E9}" destId="{02CA001B-E24E-4625-8CFA-1A6C755C930E}" srcOrd="0" destOrd="0" presId="urn:microsoft.com/office/officeart/2008/layout/CircleAccentTimeline"/>
    <dgm:cxn modelId="{4E51CB4D-6E2D-469C-8862-4F7260AD34B0}" type="presOf" srcId="{57D3AE1B-73A5-48A4-9A09-1A300CDA4E8B}" destId="{3EDE9DD2-3243-430B-BFDF-DB42C8C39F0F}" srcOrd="0" destOrd="0" presId="urn:microsoft.com/office/officeart/2008/layout/CircleAccentTimeline"/>
    <dgm:cxn modelId="{821679B7-6AA9-4DF4-8B2B-FD59F8EB674C}" type="presOf" srcId="{776EC1F7-996A-4DD0-A761-236B8084FE3C}" destId="{F56B5539-3C77-47E1-8754-B43314A96F14}" srcOrd="0" destOrd="0" presId="urn:microsoft.com/office/officeart/2008/layout/CircleAccentTimeline"/>
    <dgm:cxn modelId="{1CD45CC8-2D00-4EE6-A595-D60A34FC2131}" type="presOf" srcId="{3BB52753-ADB0-4BB6-8892-2A780252071D}" destId="{8CA68C6F-E3B6-46A7-A9B1-B780AB0310AB}" srcOrd="0" destOrd="0" presId="urn:microsoft.com/office/officeart/2008/layout/CircleAccentTimeline"/>
    <dgm:cxn modelId="{978E2AAF-2186-4D8C-8769-24D3CE4DED93}" type="presParOf" srcId="{1A704293-4A00-4269-9793-84EF60BB46E7}" destId="{A4C70CCE-E506-430D-8CE9-E3F0C822F8C1}" srcOrd="0" destOrd="0" presId="urn:microsoft.com/office/officeart/2008/layout/CircleAccentTimeline"/>
    <dgm:cxn modelId="{10A40646-728C-46FC-9EE7-FF58CABD3DCE}" type="presParOf" srcId="{A4C70CCE-E506-430D-8CE9-E3F0C822F8C1}" destId="{56AEF2CF-BD74-47E9-9224-4EAC05CF5B8D}" srcOrd="0" destOrd="0" presId="urn:microsoft.com/office/officeart/2008/layout/CircleAccentTimeline"/>
    <dgm:cxn modelId="{4FCF9924-BC29-459F-9B2C-E04002867678}" type="presParOf" srcId="{A4C70CCE-E506-430D-8CE9-E3F0C822F8C1}" destId="{6F73384A-DB24-4E9B-9313-3EFB3DDE8577}" srcOrd="1" destOrd="0" presId="urn:microsoft.com/office/officeart/2008/layout/CircleAccentTimeline"/>
    <dgm:cxn modelId="{E7149E96-1261-4C5A-A7C9-E590BC549C69}" type="presParOf" srcId="{A4C70CCE-E506-430D-8CE9-E3F0C822F8C1}" destId="{12B297DC-E2BD-43F9-AB76-F334910D5A94}" srcOrd="2" destOrd="0" presId="urn:microsoft.com/office/officeart/2008/layout/CircleAccentTimeline"/>
    <dgm:cxn modelId="{3A2567DC-FF22-4D38-99EF-BE35ABA0DD6A}" type="presParOf" srcId="{1A704293-4A00-4269-9793-84EF60BB46E7}" destId="{C054349A-9079-4978-A10C-80B4000B73E6}" srcOrd="1" destOrd="0" presId="urn:microsoft.com/office/officeart/2008/layout/CircleAccentTimeline"/>
    <dgm:cxn modelId="{2255B1C4-BFA9-4B4C-837E-51AB7BED18E8}" type="presParOf" srcId="{1A704293-4A00-4269-9793-84EF60BB46E7}" destId="{24C5703B-3128-468D-93D7-5B64EFF7DC5D}" srcOrd="2" destOrd="0" presId="urn:microsoft.com/office/officeart/2008/layout/CircleAccentTimeline"/>
    <dgm:cxn modelId="{79CCE9C7-06D1-4880-8286-9DF1413E4D36}" type="presParOf" srcId="{1A704293-4A00-4269-9793-84EF60BB46E7}" destId="{C8C3D363-C41D-401A-AFB6-4434C784C1EC}" srcOrd="3" destOrd="0" presId="urn:microsoft.com/office/officeart/2008/layout/CircleAccentTimeline"/>
    <dgm:cxn modelId="{F0448BCE-2E59-4E26-A08A-A319430BD2C0}" type="presParOf" srcId="{1A704293-4A00-4269-9793-84EF60BB46E7}" destId="{F8A11BC1-02E6-4CDC-AF95-1C0410A3A4A7}" srcOrd="4" destOrd="0" presId="urn:microsoft.com/office/officeart/2008/layout/CircleAccentTimeline"/>
    <dgm:cxn modelId="{E37A7131-2D33-4D42-AE22-2C213BA270E5}" type="presParOf" srcId="{F8A11BC1-02E6-4CDC-AF95-1C0410A3A4A7}" destId="{988C035B-BE7B-49C8-9002-27080AEB6D54}" srcOrd="0" destOrd="0" presId="urn:microsoft.com/office/officeart/2008/layout/CircleAccentTimeline"/>
    <dgm:cxn modelId="{3D28D304-DF91-4F09-BABE-59E20AA95E6A}" type="presParOf" srcId="{F8A11BC1-02E6-4CDC-AF95-1C0410A3A4A7}" destId="{6FC2B767-AFE4-4C94-BFD2-2853D88B54E5}" srcOrd="1" destOrd="0" presId="urn:microsoft.com/office/officeart/2008/layout/CircleAccentTimeline"/>
    <dgm:cxn modelId="{FBAEF074-DE86-42C1-BF8E-60565A74F917}" type="presParOf" srcId="{F8A11BC1-02E6-4CDC-AF95-1C0410A3A4A7}" destId="{28CB7A41-49F4-4D56-842A-D68F369A6307}" srcOrd="2" destOrd="0" presId="urn:microsoft.com/office/officeart/2008/layout/CircleAccentTimeline"/>
    <dgm:cxn modelId="{90312403-9D5D-431A-9D62-61DE147B71D2}" type="presParOf" srcId="{1A704293-4A00-4269-9793-84EF60BB46E7}" destId="{2E05AE3C-6A23-4215-B26B-538A0976C366}" srcOrd="5" destOrd="0" presId="urn:microsoft.com/office/officeart/2008/layout/CircleAccentTimeline"/>
    <dgm:cxn modelId="{8F2FE00C-54C8-403E-98DB-85773FF8A1D6}" type="presParOf" srcId="{1A704293-4A00-4269-9793-84EF60BB46E7}" destId="{005D9CD6-8A5B-4B3C-9772-455DA646C6D5}" srcOrd="6" destOrd="0" presId="urn:microsoft.com/office/officeart/2008/layout/CircleAccentTimeline"/>
    <dgm:cxn modelId="{58546FF0-F86F-4F6F-B800-590A27AD5ADC}" type="presParOf" srcId="{1A704293-4A00-4269-9793-84EF60BB46E7}" destId="{F5F5C2A5-CD2A-4BF3-9E7D-9CC3E927F990}" srcOrd="7" destOrd="0" presId="urn:microsoft.com/office/officeart/2008/layout/CircleAccentTimeline"/>
    <dgm:cxn modelId="{9A2C51A0-0F69-4FDB-90EF-E712C327A392}" type="presParOf" srcId="{1A704293-4A00-4269-9793-84EF60BB46E7}" destId="{00904F4D-D009-481C-BDD7-C81BF30DD670}" srcOrd="8" destOrd="0" presId="urn:microsoft.com/office/officeart/2008/layout/CircleAccentTimeline"/>
    <dgm:cxn modelId="{6D5AAAD7-375C-4F68-BC88-564C28E88AA6}" type="presParOf" srcId="{00904F4D-D009-481C-BDD7-C81BF30DD670}" destId="{46B25F0D-D431-4949-81A0-676174D34183}" srcOrd="0" destOrd="0" presId="urn:microsoft.com/office/officeart/2008/layout/CircleAccentTimeline"/>
    <dgm:cxn modelId="{75B3F62E-801A-465C-807F-C873AFAEE5A5}" type="presParOf" srcId="{00904F4D-D009-481C-BDD7-C81BF30DD670}" destId="{593E5578-D846-4CF3-A9D5-73E453066575}" srcOrd="1" destOrd="0" presId="urn:microsoft.com/office/officeart/2008/layout/CircleAccentTimeline"/>
    <dgm:cxn modelId="{5A214C8A-20C5-4A73-A133-388AF290EF91}" type="presParOf" srcId="{00904F4D-D009-481C-BDD7-C81BF30DD670}" destId="{A1AA65C6-9A13-4697-920B-109CDD4DDA94}" srcOrd="2" destOrd="0" presId="urn:microsoft.com/office/officeart/2008/layout/CircleAccentTimeline"/>
    <dgm:cxn modelId="{20B00F02-E502-4311-A4AB-E7979DA80577}" type="presParOf" srcId="{1A704293-4A00-4269-9793-84EF60BB46E7}" destId="{6E357F85-05B6-4B53-9066-7FB07E9EAA3E}" srcOrd="9" destOrd="0" presId="urn:microsoft.com/office/officeart/2008/layout/CircleAccentTimeline"/>
    <dgm:cxn modelId="{9BE9448A-9474-4445-81C8-FF71A6A25EE8}" type="presParOf" srcId="{1A704293-4A00-4269-9793-84EF60BB46E7}" destId="{387B4C12-958B-44D9-A807-6D6D9A880085}" srcOrd="10" destOrd="0" presId="urn:microsoft.com/office/officeart/2008/layout/CircleAccentTimeline"/>
    <dgm:cxn modelId="{972C1C23-05FC-4A35-86AF-100D74316D7F}" type="presParOf" srcId="{1A704293-4A00-4269-9793-84EF60BB46E7}" destId="{84CCE456-9A31-4DEE-BAB7-3AAB4DB7BF78}" srcOrd="11" destOrd="0" presId="urn:microsoft.com/office/officeart/2008/layout/CircleAccentTimeline"/>
    <dgm:cxn modelId="{5C27BB01-39F3-4176-A61D-86E97AAFD081}" type="presParOf" srcId="{1A704293-4A00-4269-9793-84EF60BB46E7}" destId="{DC73377C-628A-4405-9964-724C2189D1E3}" srcOrd="12" destOrd="0" presId="urn:microsoft.com/office/officeart/2008/layout/CircleAccentTimeline"/>
    <dgm:cxn modelId="{C9C18BDA-CC41-4752-BFC8-224097E7559E}" type="presParOf" srcId="{DC73377C-628A-4405-9964-724C2189D1E3}" destId="{3FC968D4-1463-4BB8-8E4F-74B77036556E}" srcOrd="0" destOrd="0" presId="urn:microsoft.com/office/officeart/2008/layout/CircleAccentTimeline"/>
    <dgm:cxn modelId="{7C25BABF-FA35-432F-B786-E666C0B1E335}" type="presParOf" srcId="{DC73377C-628A-4405-9964-724C2189D1E3}" destId="{02CA001B-E24E-4625-8CFA-1A6C755C930E}" srcOrd="1" destOrd="0" presId="urn:microsoft.com/office/officeart/2008/layout/CircleAccentTimeline"/>
    <dgm:cxn modelId="{B2384011-9829-4A73-BB05-E5ECB3A2C8E8}" type="presParOf" srcId="{DC73377C-628A-4405-9964-724C2189D1E3}" destId="{E0FD4796-E7AB-488D-9336-DB3CCBEFE335}" srcOrd="2" destOrd="0" presId="urn:microsoft.com/office/officeart/2008/layout/CircleAccentTimeline"/>
    <dgm:cxn modelId="{25B7D8C0-C0C2-4095-BA21-AF473BBBCC44}" type="presParOf" srcId="{1A704293-4A00-4269-9793-84EF60BB46E7}" destId="{AE72B25E-0A65-488B-9C29-B1D763436A57}" srcOrd="13" destOrd="0" presId="urn:microsoft.com/office/officeart/2008/layout/CircleAccentTimeline"/>
    <dgm:cxn modelId="{078987FB-B29B-4460-8B9A-90A3DC210DD2}" type="presParOf" srcId="{1A704293-4A00-4269-9793-84EF60BB46E7}" destId="{341DCFA4-81F2-46C5-B89F-D9D6359A3202}" srcOrd="14" destOrd="0" presId="urn:microsoft.com/office/officeart/2008/layout/CircleAccentTimeline"/>
    <dgm:cxn modelId="{D05121E8-0D48-439E-9B5B-C94EEE642273}" type="presParOf" srcId="{1A704293-4A00-4269-9793-84EF60BB46E7}" destId="{B5ECE69A-1709-46E5-B808-E420C4621320}" srcOrd="15" destOrd="0" presId="urn:microsoft.com/office/officeart/2008/layout/CircleAccentTimeline"/>
    <dgm:cxn modelId="{C6AC04C8-FFAF-48FE-B772-A61F8C2598E5}" type="presParOf" srcId="{1A704293-4A00-4269-9793-84EF60BB46E7}" destId="{61EE79E8-884E-4AB3-BBC9-A66BAE573D68}" srcOrd="16" destOrd="0" presId="urn:microsoft.com/office/officeart/2008/layout/CircleAccentTimeline"/>
    <dgm:cxn modelId="{97FD2CDC-41F9-4C02-B830-1A909C23C718}" type="presParOf" srcId="{61EE79E8-884E-4AB3-BBC9-A66BAE573D68}" destId="{40C4B2F5-DDA6-41E2-B2AF-97E4F39909E6}" srcOrd="0" destOrd="0" presId="urn:microsoft.com/office/officeart/2008/layout/CircleAccentTimeline"/>
    <dgm:cxn modelId="{5B4FFB71-D283-487C-AD90-08BDE4575EBF}" type="presParOf" srcId="{61EE79E8-884E-4AB3-BBC9-A66BAE573D68}" destId="{F56B5539-3C77-47E1-8754-B43314A96F14}" srcOrd="1" destOrd="0" presId="urn:microsoft.com/office/officeart/2008/layout/CircleAccentTimeline"/>
    <dgm:cxn modelId="{70190A4C-0754-40C1-BAD6-428AFE8452FF}" type="presParOf" srcId="{61EE79E8-884E-4AB3-BBC9-A66BAE573D68}" destId="{0566B732-D545-48BE-881E-52A791DA4ABA}" srcOrd="2" destOrd="0" presId="urn:microsoft.com/office/officeart/2008/layout/CircleAccentTimeline"/>
    <dgm:cxn modelId="{D52A0FBF-B575-4A19-AB0F-2413205EF6A3}" type="presParOf" srcId="{1A704293-4A00-4269-9793-84EF60BB46E7}" destId="{8B6973B3-817C-49CE-93D5-F952D3681F10}" srcOrd="17" destOrd="0" presId="urn:microsoft.com/office/officeart/2008/layout/CircleAccentTimeline"/>
    <dgm:cxn modelId="{0006F7C9-FF5F-47F9-BD72-146544C1AA1C}" type="presParOf" srcId="{1A704293-4A00-4269-9793-84EF60BB46E7}" destId="{0E1C1D2A-502D-48CE-AEC8-7488D876E2ED}" srcOrd="18" destOrd="0" presId="urn:microsoft.com/office/officeart/2008/layout/CircleAccentTimeline"/>
    <dgm:cxn modelId="{2DC72570-E06B-4A85-9968-1569F4E06A55}" type="presParOf" srcId="{1A704293-4A00-4269-9793-84EF60BB46E7}" destId="{7803BCF7-F0D7-4B1D-A3EF-8292C734420A}" srcOrd="19" destOrd="0" presId="urn:microsoft.com/office/officeart/2008/layout/CircleAccentTimeline"/>
    <dgm:cxn modelId="{F7940CF3-410A-4C68-B677-2450B7A44770}" type="presParOf" srcId="{7803BCF7-F0D7-4B1D-A3EF-8292C734420A}" destId="{F87B6F15-59C6-4659-B141-44CA8308F192}" srcOrd="0" destOrd="0" presId="urn:microsoft.com/office/officeart/2008/layout/CircleAccentTimeline"/>
    <dgm:cxn modelId="{412FD031-DBD8-4B09-BBB4-F73418B43338}" type="presParOf" srcId="{7803BCF7-F0D7-4B1D-A3EF-8292C734420A}" destId="{3EDE9DD2-3243-430B-BFDF-DB42C8C39F0F}" srcOrd="1" destOrd="0" presId="urn:microsoft.com/office/officeart/2008/layout/CircleAccentTimeline"/>
    <dgm:cxn modelId="{3D53CF28-ED8D-48B7-9408-6524FA5FF192}" type="presParOf" srcId="{7803BCF7-F0D7-4B1D-A3EF-8292C734420A}" destId="{54070C43-6009-4E1C-BA92-33271047321C}" srcOrd="2" destOrd="0" presId="urn:microsoft.com/office/officeart/2008/layout/CircleAccentTimeline"/>
    <dgm:cxn modelId="{9C8751C8-14CB-4900-BBEC-B19A8B8A3227}" type="presParOf" srcId="{1A704293-4A00-4269-9793-84EF60BB46E7}" destId="{7F10A9E6-0663-41C6-93C4-F47FB7BD746A}" srcOrd="20" destOrd="0" presId="urn:microsoft.com/office/officeart/2008/layout/CircleAccentTimeline"/>
    <dgm:cxn modelId="{D7C43E5F-74EA-4F15-8390-D4EC7AE14642}" type="presParOf" srcId="{1A704293-4A00-4269-9793-84EF60BB46E7}" destId="{77DCCE78-72A1-491E-BC8D-F3AF5E37D4A8}" srcOrd="21" destOrd="0" presId="urn:microsoft.com/office/officeart/2008/layout/CircleAccentTimeline"/>
    <dgm:cxn modelId="{F33EA46A-8501-4A20-B29A-67830FE740CC}" type="presParOf" srcId="{1A704293-4A00-4269-9793-84EF60BB46E7}" destId="{C74E053A-3AC0-4730-9A92-0F2249A35D8A}" srcOrd="22" destOrd="0" presId="urn:microsoft.com/office/officeart/2008/layout/CircleAccentTimeline"/>
    <dgm:cxn modelId="{0BD13BD7-61AF-4145-A58D-50E3E0699087}" type="presParOf" srcId="{1A704293-4A00-4269-9793-84EF60BB46E7}" destId="{42921E3A-CF41-49D9-A8B2-F862DACD1455}" srcOrd="23" destOrd="0" presId="urn:microsoft.com/office/officeart/2008/layout/CircleAccentTimeline"/>
    <dgm:cxn modelId="{53306773-F801-453D-8AE6-F45F07E5AB31}" type="presParOf" srcId="{42921E3A-CF41-49D9-A8B2-F862DACD1455}" destId="{8DBDFD54-FA06-4E78-B1F9-B5C24B106AA5}" srcOrd="0" destOrd="0" presId="urn:microsoft.com/office/officeart/2008/layout/CircleAccentTimeline"/>
    <dgm:cxn modelId="{4D9B19A9-C7F2-44F8-9612-29629E8B5339}" type="presParOf" srcId="{42921E3A-CF41-49D9-A8B2-F862DACD1455}" destId="{EB6A5027-8CC0-4067-8103-7E8095435049}" srcOrd="1" destOrd="0" presId="urn:microsoft.com/office/officeart/2008/layout/CircleAccentTimeline"/>
    <dgm:cxn modelId="{01BA6500-3F0E-484A-A762-AE853DB5873E}" type="presParOf" srcId="{42921E3A-CF41-49D9-A8B2-F862DACD1455}" destId="{B8523729-5ED9-4781-9993-ED44EE714E76}" srcOrd="2" destOrd="0" presId="urn:microsoft.com/office/officeart/2008/layout/CircleAccentTimeline"/>
    <dgm:cxn modelId="{26E5CF94-9253-4523-96F5-25B31CC6E177}" type="presParOf" srcId="{1A704293-4A00-4269-9793-84EF60BB46E7}" destId="{2157E965-1A58-4647-B54C-41301E78F91D}" srcOrd="24" destOrd="0" presId="urn:microsoft.com/office/officeart/2008/layout/CircleAccentTimeline"/>
    <dgm:cxn modelId="{ACBD5D3E-F611-4B98-A831-EA5B76170FAF}" type="presParOf" srcId="{1A704293-4A00-4269-9793-84EF60BB46E7}" destId="{2CE77E30-7D1E-4313-BA7A-72425E4B9296}" srcOrd="25" destOrd="0" presId="urn:microsoft.com/office/officeart/2008/layout/CircleAccentTimeline"/>
    <dgm:cxn modelId="{45F594B1-7D1D-4A1B-A7DE-688275F76B81}" type="presParOf" srcId="{1A704293-4A00-4269-9793-84EF60BB46E7}" destId="{C01DFA6D-43E5-4429-A9B3-E2886C2B08AB}" srcOrd="26" destOrd="0" presId="urn:microsoft.com/office/officeart/2008/layout/CircleAccentTimeline"/>
    <dgm:cxn modelId="{D29F6B09-BFD7-4BB8-B772-97BEF2DF1A75}" type="presParOf" srcId="{1A704293-4A00-4269-9793-84EF60BB46E7}" destId="{7679D52D-7B5F-4A0F-9F3A-A6C3FF6AA255}" srcOrd="27" destOrd="0" presId="urn:microsoft.com/office/officeart/2008/layout/CircleAccentTimeline"/>
    <dgm:cxn modelId="{0038C13D-DFF4-4A65-9D6C-8D4746048025}" type="presParOf" srcId="{7679D52D-7B5F-4A0F-9F3A-A6C3FF6AA255}" destId="{98F6187D-F3FF-4676-8B83-7A42AA5EA52A}" srcOrd="0" destOrd="0" presId="urn:microsoft.com/office/officeart/2008/layout/CircleAccentTimeline"/>
    <dgm:cxn modelId="{762B9BAE-861E-4ECD-B810-E8296D06B969}" type="presParOf" srcId="{7679D52D-7B5F-4A0F-9F3A-A6C3FF6AA255}" destId="{BF4020F7-F215-45CC-8770-28C12A152C49}" srcOrd="1" destOrd="0" presId="urn:microsoft.com/office/officeart/2008/layout/CircleAccentTimeline"/>
    <dgm:cxn modelId="{D5754A20-766F-4913-A1CB-D1BB9F769B66}" type="presParOf" srcId="{7679D52D-7B5F-4A0F-9F3A-A6C3FF6AA255}" destId="{9D3D5B97-3DE5-4600-B2D0-2F52A3508BAB}" srcOrd="2" destOrd="0" presId="urn:microsoft.com/office/officeart/2008/layout/CircleAccentTimeline"/>
    <dgm:cxn modelId="{0906DC01-ABB6-4654-8D09-6774163C4867}" type="presParOf" srcId="{1A704293-4A00-4269-9793-84EF60BB46E7}" destId="{AAA258DE-25B0-4EEC-AE45-3BD52C790DDE}" srcOrd="28" destOrd="0" presId="urn:microsoft.com/office/officeart/2008/layout/CircleAccentTimeline"/>
    <dgm:cxn modelId="{2D461B02-39D3-4003-9AA4-A03528F02C18}" type="presParOf" srcId="{1A704293-4A00-4269-9793-84EF60BB46E7}" destId="{73CBFFD3-6A7B-4D17-8702-83FFF281EEA4}" srcOrd="29" destOrd="0" presId="urn:microsoft.com/office/officeart/2008/layout/CircleAccentTimeline"/>
    <dgm:cxn modelId="{EEC8A230-78AC-4410-8A0B-B07E6E7BB337}" type="presParOf" srcId="{1A704293-4A00-4269-9793-84EF60BB46E7}" destId="{AF334E5A-D793-4FA0-A5C5-0D5AA4768030}" srcOrd="30" destOrd="0" presId="urn:microsoft.com/office/officeart/2008/layout/CircleAccentTimeline"/>
    <dgm:cxn modelId="{C99E1A1B-D1A3-472A-960C-17F7574C7DBE}" type="presParOf" srcId="{1A704293-4A00-4269-9793-84EF60BB46E7}" destId="{52773FDC-4772-4F97-BC48-7D43FDF59697}" srcOrd="31" destOrd="0" presId="urn:microsoft.com/office/officeart/2008/layout/CircleAccentTimeline"/>
    <dgm:cxn modelId="{6C47A319-749B-42CE-B431-587E643BC292}" type="presParOf" srcId="{52773FDC-4772-4F97-BC48-7D43FDF59697}" destId="{285EB5AC-902D-472C-844D-916AF60547E4}" srcOrd="0" destOrd="0" presId="urn:microsoft.com/office/officeart/2008/layout/CircleAccentTimeline"/>
    <dgm:cxn modelId="{68963D44-D4AD-48C5-9ED7-F6066A581444}" type="presParOf" srcId="{52773FDC-4772-4F97-BC48-7D43FDF59697}" destId="{8CA68C6F-E3B6-46A7-A9B1-B780AB0310AB}" srcOrd="1" destOrd="0" presId="urn:microsoft.com/office/officeart/2008/layout/CircleAccentTimeline"/>
    <dgm:cxn modelId="{E7BFFEC9-9662-4BA5-A2F3-B5926BE536C0}" type="presParOf" srcId="{52773FDC-4772-4F97-BC48-7D43FDF59697}" destId="{2BF1D30D-A645-461B-8B53-6D37647F8F3F}" srcOrd="2" destOrd="0" presId="urn:microsoft.com/office/officeart/2008/layout/CircleAccentTimeline"/>
    <dgm:cxn modelId="{17DEB83C-949C-40FB-8807-E5FAAA6BAEBA}" type="presParOf" srcId="{1A704293-4A00-4269-9793-84EF60BB46E7}" destId="{62DE114B-FE75-4C07-93B2-1FFC0F4EA50E}" srcOrd="32" destOrd="0" presId="urn:microsoft.com/office/officeart/2008/layout/CircleAccentTimeline"/>
    <dgm:cxn modelId="{33B1F41B-50EE-4A2C-BB77-1D55F1769A0F}" type="presParOf" srcId="{1A704293-4A00-4269-9793-84EF60BB46E7}" destId="{EACB1369-3186-4D39-944D-48FC110BAFF2}" srcOrd="33" destOrd="0" presId="urn:microsoft.com/office/officeart/2008/layout/CircleAccentTimeline"/>
    <dgm:cxn modelId="{927D71D3-DFF8-4001-92D6-3926C42782D8}" type="presParOf" srcId="{1A704293-4A00-4269-9793-84EF60BB46E7}" destId="{514ACA26-0E7A-4799-8323-8E78A018FE1A}" srcOrd="34" destOrd="0" presId="urn:microsoft.com/office/officeart/2008/layout/CircleAccentTimeline"/>
    <dgm:cxn modelId="{550845C1-9A60-4052-B743-B80087C8FCDA}" type="presParOf" srcId="{1A704293-4A00-4269-9793-84EF60BB46E7}" destId="{5A25D132-820E-44C3-AAA4-0E752E0B8155}" srcOrd="35" destOrd="0" presId="urn:microsoft.com/office/officeart/2008/layout/CircleAccentTimeline"/>
    <dgm:cxn modelId="{6ACD654F-B796-4F44-A029-11FE6FF6ED4D}" type="presParOf" srcId="{5A25D132-820E-44C3-AAA4-0E752E0B8155}" destId="{B554C5DC-DEEA-4AE2-942F-B531DCD6A4BC}" srcOrd="0" destOrd="0" presId="urn:microsoft.com/office/officeart/2008/layout/CircleAccentTimeline"/>
    <dgm:cxn modelId="{84CEB432-B7F6-4514-AA82-FF545B66BC24}" type="presParOf" srcId="{5A25D132-820E-44C3-AAA4-0E752E0B8155}" destId="{D0E61BE3-08C2-42D5-B308-61E0BFDF64D4}" srcOrd="1" destOrd="0" presId="urn:microsoft.com/office/officeart/2008/layout/CircleAccentTimeline"/>
    <dgm:cxn modelId="{6A5100EA-7384-4DA3-ADA2-8FF9463AE438}" type="presParOf" srcId="{5A25D132-820E-44C3-AAA4-0E752E0B8155}" destId="{0B76364A-724C-4D60-B742-8B2007D3D83F}" srcOrd="2" destOrd="0" presId="urn:microsoft.com/office/officeart/2008/layout/CircleAccentTimeline"/>
    <dgm:cxn modelId="{0152A7EC-81CB-43DC-9467-F78C7AE63B2B}" type="presParOf" srcId="{1A704293-4A00-4269-9793-84EF60BB46E7}" destId="{9F886749-129F-4F94-8FDC-026B682698D1}" srcOrd="36" destOrd="0" presId="urn:microsoft.com/office/officeart/2008/layout/CircleAccentTimeline"/>
    <dgm:cxn modelId="{564AA67A-B653-4F1E-A901-FF0D40E8542E}" type="presParOf" srcId="{1A704293-4A00-4269-9793-84EF60BB46E7}" destId="{AA708E94-3504-4DF0-823F-FB4565134AB9}" srcOrd="37" destOrd="0" presId="urn:microsoft.com/office/officeart/2008/layout/CircleAccentTimeline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22C8004B-A441-4F06-B14F-E6072A253398}" type="doc">
      <dgm:prSet loTypeId="urn:microsoft.com/office/officeart/2005/8/layout/chevron1" loCatId="process" qsTypeId="urn:microsoft.com/office/officeart/2005/8/quickstyle/simple1" qsCatId="simple" csTypeId="urn:microsoft.com/office/officeart/2005/8/colors/accent6_5" csCatId="accent6" phldr="1"/>
      <dgm:spPr/>
    </dgm:pt>
    <dgm:pt modelId="{A5C9D6BD-7705-41D0-896B-39382DEF9DA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2017</a:t>
          </a:r>
          <a:endParaRPr lang="pt-BR" dirty="0">
            <a:latin typeface="Simplon BP Regular" pitchFamily="2" charset="0"/>
          </a:endParaRPr>
        </a:p>
      </dgm:t>
    </dgm:pt>
    <dgm:pt modelId="{04DBB520-D8EC-410B-A08F-9E574DD82296}" type="parTrans" cxnId="{1BCF78A4-203A-42A6-8641-0E8362FD9E45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F28B3D7F-DFCE-4E77-8F1C-7B042500BAEF}" type="sibTrans" cxnId="{1BCF78A4-203A-42A6-8641-0E8362FD9E45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CC6DE7D9-FFFB-4048-A63C-05CB70202A8D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2018</a:t>
          </a:r>
          <a:endParaRPr lang="pt-BR" dirty="0">
            <a:latin typeface="Simplon BP Regular" pitchFamily="2" charset="0"/>
          </a:endParaRPr>
        </a:p>
      </dgm:t>
    </dgm:pt>
    <dgm:pt modelId="{00571E69-0253-4D2C-8C3E-A4B850FAE6D3}" type="parTrans" cxnId="{BFE63539-22DE-4975-9F2B-B16967A9B79A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87372C84-E1D2-46B0-A14E-6954F848ADF5}" type="sibTrans" cxnId="{BFE63539-22DE-4975-9F2B-B16967A9B79A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3014A0A9-B888-44B6-87FD-3FA34B8C82C9}" type="pres">
      <dgm:prSet presAssocID="{22C8004B-A441-4F06-B14F-E6072A253398}" presName="Name0" presStyleCnt="0">
        <dgm:presLayoutVars>
          <dgm:dir/>
          <dgm:animLvl val="lvl"/>
          <dgm:resizeHandles val="exact"/>
        </dgm:presLayoutVars>
      </dgm:prSet>
      <dgm:spPr/>
    </dgm:pt>
    <dgm:pt modelId="{186D22AC-C516-4D8C-AE22-0C650918D950}" type="pres">
      <dgm:prSet presAssocID="{A5C9D6BD-7705-41D0-896B-39382DEF9DAB}" presName="parTxOnly" presStyleLbl="node1" presStyleIdx="0" presStyleCnt="2" custScaleX="233621" custLinFactNeighborY="273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7E3C63A-3CC1-478C-B991-43B301263277}" type="pres">
      <dgm:prSet presAssocID="{F28B3D7F-DFCE-4E77-8F1C-7B042500BAEF}" presName="parTxOnlySpace" presStyleCnt="0"/>
      <dgm:spPr/>
    </dgm:pt>
    <dgm:pt modelId="{0550EBE2-3CC1-4770-9B02-DDFB5E793DEB}" type="pres">
      <dgm:prSet presAssocID="{CC6DE7D9-FFFB-4048-A63C-05CB70202A8D}" presName="parTxOnly" presStyleLbl="node1" presStyleIdx="1" presStyleCnt="2" custScaleX="109901" custLinFactNeighborY="312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1BCF78A4-203A-42A6-8641-0E8362FD9E45}" srcId="{22C8004B-A441-4F06-B14F-E6072A253398}" destId="{A5C9D6BD-7705-41D0-896B-39382DEF9DAB}" srcOrd="0" destOrd="0" parTransId="{04DBB520-D8EC-410B-A08F-9E574DD82296}" sibTransId="{F28B3D7F-DFCE-4E77-8F1C-7B042500BAEF}"/>
    <dgm:cxn modelId="{9C2515A3-3D0B-46D5-8834-AD7CDD298A1D}" type="presOf" srcId="{22C8004B-A441-4F06-B14F-E6072A253398}" destId="{3014A0A9-B888-44B6-87FD-3FA34B8C82C9}" srcOrd="0" destOrd="0" presId="urn:microsoft.com/office/officeart/2005/8/layout/chevron1"/>
    <dgm:cxn modelId="{A93C7C55-410C-42C1-8EBD-060F065F3008}" type="presOf" srcId="{A5C9D6BD-7705-41D0-896B-39382DEF9DAB}" destId="{186D22AC-C516-4D8C-AE22-0C650918D950}" srcOrd="0" destOrd="0" presId="urn:microsoft.com/office/officeart/2005/8/layout/chevron1"/>
    <dgm:cxn modelId="{BFE63539-22DE-4975-9F2B-B16967A9B79A}" srcId="{22C8004B-A441-4F06-B14F-E6072A253398}" destId="{CC6DE7D9-FFFB-4048-A63C-05CB70202A8D}" srcOrd="1" destOrd="0" parTransId="{00571E69-0253-4D2C-8C3E-A4B850FAE6D3}" sibTransId="{87372C84-E1D2-46B0-A14E-6954F848ADF5}"/>
    <dgm:cxn modelId="{1EA188BB-80ED-4D82-ADBD-69C54A1816A8}" type="presOf" srcId="{CC6DE7D9-FFFB-4048-A63C-05CB70202A8D}" destId="{0550EBE2-3CC1-4770-9B02-DDFB5E793DEB}" srcOrd="0" destOrd="0" presId="urn:microsoft.com/office/officeart/2005/8/layout/chevron1"/>
    <dgm:cxn modelId="{AAB0232E-3A98-416C-809C-EB03E16BE533}" type="presParOf" srcId="{3014A0A9-B888-44B6-87FD-3FA34B8C82C9}" destId="{186D22AC-C516-4D8C-AE22-0C650918D950}" srcOrd="0" destOrd="0" presId="urn:microsoft.com/office/officeart/2005/8/layout/chevron1"/>
    <dgm:cxn modelId="{DA2F2E9A-1993-40E0-80AA-94E184C45C45}" type="presParOf" srcId="{3014A0A9-B888-44B6-87FD-3FA34B8C82C9}" destId="{47E3C63A-3CC1-478C-B991-43B301263277}" srcOrd="1" destOrd="0" presId="urn:microsoft.com/office/officeart/2005/8/layout/chevron1"/>
    <dgm:cxn modelId="{6C0F8D88-BD7D-460E-A3E9-04FA0F25687F}" type="presParOf" srcId="{3014A0A9-B888-44B6-87FD-3FA34B8C82C9}" destId="{0550EBE2-3CC1-4770-9B02-DDFB5E793DEB}" srcOrd="2" destOrd="0" presId="urn:microsoft.com/office/officeart/2005/8/layout/chevron1"/>
  </dgm:cxnLst>
  <dgm:bg>
    <a:noFill/>
  </dgm:bg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FD8CB35D-9AA8-4D3B-85BD-0C98676B30A3}" type="doc">
      <dgm:prSet loTypeId="urn:microsoft.com/office/officeart/2008/layout/CircleAccentTimeline" loCatId="process" qsTypeId="urn:microsoft.com/office/officeart/2005/8/quickstyle/simple1" qsCatId="simple" csTypeId="urn:microsoft.com/office/officeart/2005/8/colors/accent6_3" csCatId="accent6" phldr="1"/>
      <dgm:spPr/>
      <dgm:t>
        <a:bodyPr/>
        <a:lstStyle/>
        <a:p>
          <a:endParaRPr lang="pt-BR"/>
        </a:p>
      </dgm:t>
    </dgm:pt>
    <dgm:pt modelId="{26566767-DCC0-4231-911B-DF7E9F672A5E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Setup inicial do Projeto RAID-FMS</a:t>
          </a:r>
          <a:endParaRPr lang="pt-BR" dirty="0">
            <a:latin typeface="Simplon BP Regular" pitchFamily="2" charset="0"/>
          </a:endParaRPr>
        </a:p>
      </dgm:t>
    </dgm:pt>
    <dgm:pt modelId="{A2092705-1AF7-46AC-8EBA-770D8371CA18}" type="parTrans" cxnId="{759640F5-3B3C-4255-B696-7C8AB98AFFA9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6E1566C3-BB28-4580-B079-0BF96AF88419}" type="sibTrans" cxnId="{759640F5-3B3C-4255-B696-7C8AB98AFFA9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C7C7A2F3-4812-4F69-970D-66ACBF5D1559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Arquitetura física </a:t>
          </a:r>
          <a:endParaRPr lang="pt-BR" dirty="0">
            <a:latin typeface="Simplon BP Regular" pitchFamily="2" charset="0"/>
          </a:endParaRPr>
        </a:p>
      </dgm:t>
    </dgm:pt>
    <dgm:pt modelId="{F8523C37-3D7C-496F-8639-AACF87921392}" type="parTrans" cxnId="{DE3D1B99-AF66-4DAF-AF64-257C4A906EDD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2160F81B-E270-4FFF-8EA0-8E2A6A32953B}" type="sibTrans" cxnId="{DE3D1B99-AF66-4DAF-AF64-257C4A906EDD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5A4F4D41-DDF6-494A-8DDF-DBA20DF76974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NDS e </a:t>
          </a:r>
          <a:r>
            <a:rPr lang="pt-BR" dirty="0" err="1" smtClean="0">
              <a:latin typeface="Simplon BP Regular" pitchFamily="2" charset="0"/>
            </a:rPr>
            <a:t>Compliance</a:t>
          </a:r>
          <a:r>
            <a:rPr lang="pt-BR" dirty="0" smtClean="0">
              <a:latin typeface="Simplon BP Regular" pitchFamily="2" charset="0"/>
            </a:rPr>
            <a:t> SI</a:t>
          </a:r>
          <a:endParaRPr lang="pt-BR" dirty="0">
            <a:latin typeface="Simplon BP Regular" pitchFamily="2" charset="0"/>
          </a:endParaRPr>
        </a:p>
      </dgm:t>
    </dgm:pt>
    <dgm:pt modelId="{1151E5EA-0103-462A-B969-10246FCB6120}" type="parTrans" cxnId="{C4DA5776-1389-492B-9185-A0B1B842ADE3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7E922CEC-986E-427E-8CAC-FE2ADD87AAE1}" type="sibTrans" cxnId="{C4DA5776-1389-492B-9185-A0B1B842ADE3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31715DCE-1033-4F51-AA7E-996A37078C2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OI TV off-line</a:t>
          </a:r>
          <a:endParaRPr lang="pt-BR" dirty="0">
            <a:latin typeface="Simplon BP Regular" pitchFamily="2" charset="0"/>
          </a:endParaRPr>
        </a:p>
      </dgm:t>
    </dgm:pt>
    <dgm:pt modelId="{B39B534A-E900-4C50-9B97-9FA90BE57A88}" type="parTrans" cxnId="{E39D2092-86B5-4605-A89B-5A4845451C08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F9E991BD-6677-4EFD-8A6E-9B02290356F4}" type="sibTrans" cxnId="{E39D2092-86B5-4605-A89B-5A4845451C08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7DC18236-30EB-4302-A4DA-2190886A08E9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Instalação FMS </a:t>
          </a:r>
          <a:r>
            <a:rPr lang="pt-BR" dirty="0" err="1" smtClean="0">
              <a:latin typeface="Simplon BP Regular" pitchFamily="2" charset="0"/>
            </a:rPr>
            <a:t>vanila</a:t>
          </a:r>
          <a:endParaRPr lang="pt-BR" dirty="0">
            <a:latin typeface="Simplon BP Regular" pitchFamily="2" charset="0"/>
          </a:endParaRPr>
        </a:p>
      </dgm:t>
    </dgm:pt>
    <dgm:pt modelId="{5226747E-1F3F-4544-A490-D72812649869}" type="parTrans" cxnId="{BDC3B72E-0527-4D43-8C8C-47DE50D8533C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A3714163-7465-460C-B689-F1432FA66DF2}" type="sibTrans" cxnId="{BDC3B72E-0527-4D43-8C8C-47DE50D8533C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57D3AE1B-73A5-48A4-9A09-1A300CDA4E8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Programa 1 Cadastro/Subscrição e Score externo</a:t>
          </a:r>
          <a:endParaRPr lang="pt-BR" dirty="0">
            <a:latin typeface="Simplon BP Regular" pitchFamily="2" charset="0"/>
          </a:endParaRPr>
        </a:p>
      </dgm:t>
    </dgm:pt>
    <dgm:pt modelId="{4F68B22E-2095-4F18-948D-3D45345C9EBD}" type="parTrans" cxnId="{8C714905-7576-4B2D-97CF-4B4157564734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9AF49E6B-4C65-4948-8F33-6E992478EDEF}" type="sibTrans" cxnId="{8C714905-7576-4B2D-97CF-4B4157564734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776EC1F7-996A-4DD0-A761-236B8084FE3C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Planejamento, </a:t>
          </a:r>
          <a:r>
            <a:rPr lang="pt-BR" dirty="0" err="1" smtClean="0">
              <a:latin typeface="Simplon BP Regular" pitchFamily="2" charset="0"/>
            </a:rPr>
            <a:t>scoping</a:t>
          </a:r>
          <a:r>
            <a:rPr lang="pt-BR" dirty="0" smtClean="0">
              <a:latin typeface="Simplon BP Regular" pitchFamily="2" charset="0"/>
            </a:rPr>
            <a:t> e </a:t>
          </a:r>
          <a:r>
            <a:rPr lang="pt-BR" dirty="0" err="1" smtClean="0">
              <a:latin typeface="Simplon BP Regular" pitchFamily="2" charset="0"/>
            </a:rPr>
            <a:t>Kick</a:t>
          </a:r>
          <a:r>
            <a:rPr lang="pt-BR" dirty="0" smtClean="0">
              <a:latin typeface="Simplon BP Regular" pitchFamily="2" charset="0"/>
            </a:rPr>
            <a:t>-off Programa 1</a:t>
          </a:r>
          <a:endParaRPr lang="pt-BR" dirty="0">
            <a:latin typeface="Simplon BP Regular" pitchFamily="2" charset="0"/>
          </a:endParaRPr>
        </a:p>
      </dgm:t>
    </dgm:pt>
    <dgm:pt modelId="{85715835-C126-456E-B66C-D52AF0D21E7A}" type="parTrans" cxnId="{51CC282A-332E-4D31-A3C8-0B3023FFA162}">
      <dgm:prSet/>
      <dgm:spPr/>
      <dgm:t>
        <a:bodyPr/>
        <a:lstStyle/>
        <a:p>
          <a:endParaRPr lang="pt-BR"/>
        </a:p>
      </dgm:t>
    </dgm:pt>
    <dgm:pt modelId="{38770524-231E-4006-AE1B-7520970ED3E8}" type="sibTrans" cxnId="{51CC282A-332E-4D31-A3C8-0B3023FFA162}">
      <dgm:prSet/>
      <dgm:spPr/>
      <dgm:t>
        <a:bodyPr/>
        <a:lstStyle/>
        <a:p>
          <a:endParaRPr lang="pt-BR"/>
        </a:p>
      </dgm:t>
    </dgm:pt>
    <dgm:pt modelId="{AD47C804-6BCC-4DBF-BB15-E03DC61E03B9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Oi Total 2P Fixo R1/R2 e Velox</a:t>
          </a:r>
          <a:endParaRPr lang="pt-BR" dirty="0">
            <a:latin typeface="Simplon BP Regular" pitchFamily="2" charset="0"/>
          </a:endParaRPr>
        </a:p>
      </dgm:t>
    </dgm:pt>
    <dgm:pt modelId="{59D69028-5AFB-42D5-AED0-4DA4B138E63C}" type="parTrans" cxnId="{F0A3AD09-BD83-407D-B48C-B1B325D6F35E}">
      <dgm:prSet/>
      <dgm:spPr/>
      <dgm:t>
        <a:bodyPr/>
        <a:lstStyle/>
        <a:p>
          <a:endParaRPr lang="pt-BR"/>
        </a:p>
      </dgm:t>
    </dgm:pt>
    <dgm:pt modelId="{EE2326E8-1323-4F79-A0FD-AE89729D24D6}" type="sibTrans" cxnId="{F0A3AD09-BD83-407D-B48C-B1B325D6F35E}">
      <dgm:prSet/>
      <dgm:spPr/>
      <dgm:t>
        <a:bodyPr/>
        <a:lstStyle/>
        <a:p>
          <a:endParaRPr lang="pt-BR"/>
        </a:p>
      </dgm:t>
    </dgm:pt>
    <dgm:pt modelId="{3BB52753-ADB0-4BB6-8892-2A780252071D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OI Total 3P - TV Online</a:t>
          </a:r>
          <a:endParaRPr lang="pt-BR" dirty="0">
            <a:latin typeface="Simplon BP Regular" pitchFamily="2" charset="0"/>
          </a:endParaRPr>
        </a:p>
      </dgm:t>
    </dgm:pt>
    <dgm:pt modelId="{AFE8199E-AEBE-427E-8575-5D3465B6D755}" type="parTrans" cxnId="{7DA0130F-E37F-4618-82CF-FEFD9864A3C8}">
      <dgm:prSet/>
      <dgm:spPr/>
      <dgm:t>
        <a:bodyPr/>
        <a:lstStyle/>
        <a:p>
          <a:endParaRPr lang="pt-BR"/>
        </a:p>
      </dgm:t>
    </dgm:pt>
    <dgm:pt modelId="{1C8E540D-7B46-4518-9099-0937C9256430}" type="sibTrans" cxnId="{7DA0130F-E37F-4618-82CF-FEFD9864A3C8}">
      <dgm:prSet/>
      <dgm:spPr/>
      <dgm:t>
        <a:bodyPr/>
        <a:lstStyle/>
        <a:p>
          <a:endParaRPr lang="pt-BR"/>
        </a:p>
      </dgm:t>
    </dgm:pt>
    <dgm:pt modelId="{DBC45600-1869-4512-A3AB-AA97CD7EB4A9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Oi Total + Móvel</a:t>
          </a:r>
          <a:endParaRPr lang="pt-BR" dirty="0">
            <a:latin typeface="Simplon BP Regular" pitchFamily="2" charset="0"/>
          </a:endParaRPr>
        </a:p>
      </dgm:t>
    </dgm:pt>
    <dgm:pt modelId="{16498317-318F-4429-8126-9630370E148E}" type="parTrans" cxnId="{F0340E11-4A53-4D0E-8F40-85635216F016}">
      <dgm:prSet/>
      <dgm:spPr/>
      <dgm:t>
        <a:bodyPr/>
        <a:lstStyle/>
        <a:p>
          <a:endParaRPr lang="pt-BR"/>
        </a:p>
      </dgm:t>
    </dgm:pt>
    <dgm:pt modelId="{F882C3DF-3E75-4E91-BA5E-46A9A7E0E4AC}" type="sibTrans" cxnId="{F0340E11-4A53-4D0E-8F40-85635216F016}">
      <dgm:prSet/>
      <dgm:spPr/>
      <dgm:t>
        <a:bodyPr/>
        <a:lstStyle/>
        <a:p>
          <a:endParaRPr lang="pt-BR"/>
        </a:p>
      </dgm:t>
    </dgm:pt>
    <dgm:pt modelId="{D3D679E8-8BB4-4301-8A72-28E361C78A32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Móvel puro (</a:t>
          </a:r>
          <a:r>
            <a:rPr lang="pt-BR" dirty="0" err="1" smtClean="0">
              <a:latin typeface="Simplon BP Regular" pitchFamily="2" charset="0"/>
            </a:rPr>
            <a:t>pré</a:t>
          </a:r>
          <a:r>
            <a:rPr lang="pt-BR" dirty="0" smtClean="0">
              <a:latin typeface="Simplon BP Regular" pitchFamily="2" charset="0"/>
            </a:rPr>
            <a:t>/pós)</a:t>
          </a:r>
          <a:endParaRPr lang="pt-BR" dirty="0">
            <a:latin typeface="Simplon BP Regular" pitchFamily="2" charset="0"/>
          </a:endParaRPr>
        </a:p>
      </dgm:t>
    </dgm:pt>
    <dgm:pt modelId="{5531F80A-1DCD-4AC7-8D81-F0376F2F2ECF}" type="parTrans" cxnId="{AAD69A32-7C1E-4430-9A5F-E68E6A5147F8}">
      <dgm:prSet/>
      <dgm:spPr/>
      <dgm:t>
        <a:bodyPr/>
        <a:lstStyle/>
        <a:p>
          <a:endParaRPr lang="pt-BR"/>
        </a:p>
      </dgm:t>
    </dgm:pt>
    <dgm:pt modelId="{5EFF03F7-4D5E-4385-A110-DBFD9FD0D1B1}" type="sibTrans" cxnId="{AAD69A32-7C1E-4430-9A5F-E68E6A5147F8}">
      <dgm:prSet/>
      <dgm:spPr/>
      <dgm:t>
        <a:bodyPr/>
        <a:lstStyle/>
        <a:p>
          <a:endParaRPr lang="pt-BR"/>
        </a:p>
      </dgm:t>
    </dgm:pt>
    <dgm:pt modelId="{1A704293-4A00-4269-9793-84EF60BB46E7}" type="pres">
      <dgm:prSet presAssocID="{FD8CB35D-9AA8-4D3B-85BD-0C98676B30A3}" presName="Name0" presStyleCnt="0">
        <dgm:presLayoutVars>
          <dgm:dir/>
        </dgm:presLayoutVars>
      </dgm:prSet>
      <dgm:spPr/>
      <dgm:t>
        <a:bodyPr/>
        <a:lstStyle/>
        <a:p>
          <a:endParaRPr lang="pt-BR"/>
        </a:p>
      </dgm:t>
    </dgm:pt>
    <dgm:pt modelId="{A4C70CCE-E506-430D-8CE9-E3F0C822F8C1}" type="pres">
      <dgm:prSet presAssocID="{26566767-DCC0-4231-911B-DF7E9F672A5E}" presName="parComposite" presStyleCnt="0"/>
      <dgm:spPr/>
      <dgm:t>
        <a:bodyPr/>
        <a:lstStyle/>
        <a:p>
          <a:endParaRPr lang="pt-BR"/>
        </a:p>
      </dgm:t>
    </dgm:pt>
    <dgm:pt modelId="{56AEF2CF-BD74-47E9-9224-4EAC05CF5B8D}" type="pres">
      <dgm:prSet presAssocID="{26566767-DCC0-4231-911B-DF7E9F672A5E}" presName="parBigCircle" presStyleLbl="node0" presStyleIdx="0" presStyleCnt="2" custLinFactNeighborX="-1773"/>
      <dgm:spPr/>
      <dgm:t>
        <a:bodyPr/>
        <a:lstStyle/>
        <a:p>
          <a:endParaRPr lang="pt-BR"/>
        </a:p>
      </dgm:t>
    </dgm:pt>
    <dgm:pt modelId="{6F73384A-DB24-4E9B-9313-3EFB3DDE8577}" type="pres">
      <dgm:prSet presAssocID="{26566767-DCC0-4231-911B-DF7E9F672A5E}" presName="parTx" presStyleLbl="revTx" presStyleIdx="0" presStyleCnt="20"/>
      <dgm:spPr/>
      <dgm:t>
        <a:bodyPr/>
        <a:lstStyle/>
        <a:p>
          <a:endParaRPr lang="pt-BR"/>
        </a:p>
      </dgm:t>
    </dgm:pt>
    <dgm:pt modelId="{12B297DC-E2BD-43F9-AB76-F334910D5A94}" type="pres">
      <dgm:prSet presAssocID="{26566767-DCC0-4231-911B-DF7E9F672A5E}" presName="bSpace" presStyleCnt="0"/>
      <dgm:spPr/>
      <dgm:t>
        <a:bodyPr/>
        <a:lstStyle/>
        <a:p>
          <a:endParaRPr lang="pt-BR"/>
        </a:p>
      </dgm:t>
    </dgm:pt>
    <dgm:pt modelId="{C054349A-9079-4978-A10C-80B4000B73E6}" type="pres">
      <dgm:prSet presAssocID="{26566767-DCC0-4231-911B-DF7E9F672A5E}" presName="parBackupNorm" presStyleCnt="0"/>
      <dgm:spPr/>
      <dgm:t>
        <a:bodyPr/>
        <a:lstStyle/>
        <a:p>
          <a:endParaRPr lang="pt-BR"/>
        </a:p>
      </dgm:t>
    </dgm:pt>
    <dgm:pt modelId="{24C5703B-3128-468D-93D7-5B64EFF7DC5D}" type="pres">
      <dgm:prSet presAssocID="{6E1566C3-BB28-4580-B079-0BF96AF88419}" presName="parSpace" presStyleCnt="0"/>
      <dgm:spPr/>
      <dgm:t>
        <a:bodyPr/>
        <a:lstStyle/>
        <a:p>
          <a:endParaRPr lang="pt-BR"/>
        </a:p>
      </dgm:t>
    </dgm:pt>
    <dgm:pt modelId="{C8C3D363-C41D-401A-AFB6-4434C784C1EC}" type="pres">
      <dgm:prSet presAssocID="{C7C7A2F3-4812-4F69-970D-66ACBF5D1559}" presName="desBackupLeftNorm" presStyleCnt="0"/>
      <dgm:spPr/>
      <dgm:t>
        <a:bodyPr/>
        <a:lstStyle/>
        <a:p>
          <a:endParaRPr lang="pt-BR"/>
        </a:p>
      </dgm:t>
    </dgm:pt>
    <dgm:pt modelId="{F8A11BC1-02E6-4CDC-AF95-1C0410A3A4A7}" type="pres">
      <dgm:prSet presAssocID="{C7C7A2F3-4812-4F69-970D-66ACBF5D1559}" presName="desComposite" presStyleCnt="0"/>
      <dgm:spPr/>
      <dgm:t>
        <a:bodyPr/>
        <a:lstStyle/>
        <a:p>
          <a:endParaRPr lang="pt-BR"/>
        </a:p>
      </dgm:t>
    </dgm:pt>
    <dgm:pt modelId="{988C035B-BE7B-49C8-9002-27080AEB6D54}" type="pres">
      <dgm:prSet presAssocID="{C7C7A2F3-4812-4F69-970D-66ACBF5D1559}" presName="desCircle" presStyleLbl="node1" presStyleIdx="0" presStyleCnt="9"/>
      <dgm:spPr/>
      <dgm:t>
        <a:bodyPr/>
        <a:lstStyle/>
        <a:p>
          <a:endParaRPr lang="pt-BR"/>
        </a:p>
      </dgm:t>
    </dgm:pt>
    <dgm:pt modelId="{6FC2B767-AFE4-4C94-BFD2-2853D88B54E5}" type="pres">
      <dgm:prSet presAssocID="{C7C7A2F3-4812-4F69-970D-66ACBF5D1559}" presName="chTx" presStyleLbl="revTx" presStyleIdx="1" presStyleCnt="20"/>
      <dgm:spPr/>
      <dgm:t>
        <a:bodyPr/>
        <a:lstStyle/>
        <a:p>
          <a:endParaRPr lang="pt-BR"/>
        </a:p>
      </dgm:t>
    </dgm:pt>
    <dgm:pt modelId="{28CB7A41-49F4-4D56-842A-D68F369A6307}" type="pres">
      <dgm:prSet presAssocID="{C7C7A2F3-4812-4F69-970D-66ACBF5D1559}" presName="desTx" presStyleLbl="revTx" presStyleIdx="2" presStyleCnt="20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2E05AE3C-6A23-4215-B26B-538A0976C366}" type="pres">
      <dgm:prSet presAssocID="{C7C7A2F3-4812-4F69-970D-66ACBF5D1559}" presName="desBackupRightNorm" presStyleCnt="0"/>
      <dgm:spPr/>
      <dgm:t>
        <a:bodyPr/>
        <a:lstStyle/>
        <a:p>
          <a:endParaRPr lang="pt-BR"/>
        </a:p>
      </dgm:t>
    </dgm:pt>
    <dgm:pt modelId="{005D9CD6-8A5B-4B3C-9772-455DA646C6D5}" type="pres">
      <dgm:prSet presAssocID="{2160F81B-E270-4FFF-8EA0-8E2A6A32953B}" presName="desSpace" presStyleCnt="0"/>
      <dgm:spPr/>
      <dgm:t>
        <a:bodyPr/>
        <a:lstStyle/>
        <a:p>
          <a:endParaRPr lang="pt-BR"/>
        </a:p>
      </dgm:t>
    </dgm:pt>
    <dgm:pt modelId="{F5F5C2A5-CD2A-4BF3-9E7D-9CC3E927F990}" type="pres">
      <dgm:prSet presAssocID="{5A4F4D41-DDF6-494A-8DDF-DBA20DF76974}" presName="desBackupLeftNorm" presStyleCnt="0"/>
      <dgm:spPr/>
      <dgm:t>
        <a:bodyPr/>
        <a:lstStyle/>
        <a:p>
          <a:endParaRPr lang="pt-BR"/>
        </a:p>
      </dgm:t>
    </dgm:pt>
    <dgm:pt modelId="{00904F4D-D009-481C-BDD7-C81BF30DD670}" type="pres">
      <dgm:prSet presAssocID="{5A4F4D41-DDF6-494A-8DDF-DBA20DF76974}" presName="desComposite" presStyleCnt="0"/>
      <dgm:spPr/>
      <dgm:t>
        <a:bodyPr/>
        <a:lstStyle/>
        <a:p>
          <a:endParaRPr lang="pt-BR"/>
        </a:p>
      </dgm:t>
    </dgm:pt>
    <dgm:pt modelId="{46B25F0D-D431-4949-81A0-676174D34183}" type="pres">
      <dgm:prSet presAssocID="{5A4F4D41-DDF6-494A-8DDF-DBA20DF76974}" presName="desCircle" presStyleLbl="node1" presStyleIdx="1" presStyleCnt="9"/>
      <dgm:spPr/>
      <dgm:t>
        <a:bodyPr/>
        <a:lstStyle/>
        <a:p>
          <a:endParaRPr lang="pt-BR"/>
        </a:p>
      </dgm:t>
    </dgm:pt>
    <dgm:pt modelId="{593E5578-D846-4CF3-A9D5-73E453066575}" type="pres">
      <dgm:prSet presAssocID="{5A4F4D41-DDF6-494A-8DDF-DBA20DF76974}" presName="chTx" presStyleLbl="revTx" presStyleIdx="3" presStyleCnt="20"/>
      <dgm:spPr/>
      <dgm:t>
        <a:bodyPr/>
        <a:lstStyle/>
        <a:p>
          <a:endParaRPr lang="pt-BR"/>
        </a:p>
      </dgm:t>
    </dgm:pt>
    <dgm:pt modelId="{A1AA65C6-9A13-4697-920B-109CDD4DDA94}" type="pres">
      <dgm:prSet presAssocID="{5A4F4D41-DDF6-494A-8DDF-DBA20DF76974}" presName="desTx" presStyleLbl="revTx" presStyleIdx="4" presStyleCnt="20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6E357F85-05B6-4B53-9066-7FB07E9EAA3E}" type="pres">
      <dgm:prSet presAssocID="{5A4F4D41-DDF6-494A-8DDF-DBA20DF76974}" presName="desBackupRightNorm" presStyleCnt="0"/>
      <dgm:spPr/>
      <dgm:t>
        <a:bodyPr/>
        <a:lstStyle/>
        <a:p>
          <a:endParaRPr lang="pt-BR"/>
        </a:p>
      </dgm:t>
    </dgm:pt>
    <dgm:pt modelId="{387B4C12-958B-44D9-A807-6D6D9A880085}" type="pres">
      <dgm:prSet presAssocID="{7E922CEC-986E-427E-8CAC-FE2ADD87AAE1}" presName="desSpace" presStyleCnt="0"/>
      <dgm:spPr/>
      <dgm:t>
        <a:bodyPr/>
        <a:lstStyle/>
        <a:p>
          <a:endParaRPr lang="pt-BR"/>
        </a:p>
      </dgm:t>
    </dgm:pt>
    <dgm:pt modelId="{84CCE456-9A31-4DEE-BAB7-3AAB4DB7BF78}" type="pres">
      <dgm:prSet presAssocID="{7DC18236-30EB-4302-A4DA-2190886A08E9}" presName="desBackupLeftNorm" presStyleCnt="0"/>
      <dgm:spPr/>
      <dgm:t>
        <a:bodyPr/>
        <a:lstStyle/>
        <a:p>
          <a:endParaRPr lang="pt-BR"/>
        </a:p>
      </dgm:t>
    </dgm:pt>
    <dgm:pt modelId="{DC73377C-628A-4405-9964-724C2189D1E3}" type="pres">
      <dgm:prSet presAssocID="{7DC18236-30EB-4302-A4DA-2190886A08E9}" presName="desComposite" presStyleCnt="0"/>
      <dgm:spPr/>
      <dgm:t>
        <a:bodyPr/>
        <a:lstStyle/>
        <a:p>
          <a:endParaRPr lang="pt-BR"/>
        </a:p>
      </dgm:t>
    </dgm:pt>
    <dgm:pt modelId="{3FC968D4-1463-4BB8-8E4F-74B77036556E}" type="pres">
      <dgm:prSet presAssocID="{7DC18236-30EB-4302-A4DA-2190886A08E9}" presName="desCircle" presStyleLbl="node1" presStyleIdx="2" presStyleCnt="9"/>
      <dgm:spPr/>
      <dgm:t>
        <a:bodyPr/>
        <a:lstStyle/>
        <a:p>
          <a:endParaRPr lang="pt-BR"/>
        </a:p>
      </dgm:t>
    </dgm:pt>
    <dgm:pt modelId="{02CA001B-E24E-4625-8CFA-1A6C755C930E}" type="pres">
      <dgm:prSet presAssocID="{7DC18236-30EB-4302-A4DA-2190886A08E9}" presName="chTx" presStyleLbl="revTx" presStyleIdx="5" presStyleCnt="20"/>
      <dgm:spPr/>
      <dgm:t>
        <a:bodyPr/>
        <a:lstStyle/>
        <a:p>
          <a:endParaRPr lang="pt-BR"/>
        </a:p>
      </dgm:t>
    </dgm:pt>
    <dgm:pt modelId="{E0FD4796-E7AB-488D-9336-DB3CCBEFE335}" type="pres">
      <dgm:prSet presAssocID="{7DC18236-30EB-4302-A4DA-2190886A08E9}" presName="desTx" presStyleLbl="revTx" presStyleIdx="6" presStyleCnt="20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AE72B25E-0A65-488B-9C29-B1D763436A57}" type="pres">
      <dgm:prSet presAssocID="{7DC18236-30EB-4302-A4DA-2190886A08E9}" presName="desBackupRightNorm" presStyleCnt="0"/>
      <dgm:spPr/>
      <dgm:t>
        <a:bodyPr/>
        <a:lstStyle/>
        <a:p>
          <a:endParaRPr lang="pt-BR"/>
        </a:p>
      </dgm:t>
    </dgm:pt>
    <dgm:pt modelId="{341DCFA4-81F2-46C5-B89F-D9D6359A3202}" type="pres">
      <dgm:prSet presAssocID="{A3714163-7465-460C-B689-F1432FA66DF2}" presName="desSpace" presStyleCnt="0"/>
      <dgm:spPr/>
      <dgm:t>
        <a:bodyPr/>
        <a:lstStyle/>
        <a:p>
          <a:endParaRPr lang="pt-BR"/>
        </a:p>
      </dgm:t>
    </dgm:pt>
    <dgm:pt modelId="{B5ECE69A-1709-46E5-B808-E420C4621320}" type="pres">
      <dgm:prSet presAssocID="{776EC1F7-996A-4DD0-A761-236B8084FE3C}" presName="desBackupLeftNorm" presStyleCnt="0"/>
      <dgm:spPr/>
      <dgm:t>
        <a:bodyPr/>
        <a:lstStyle/>
        <a:p>
          <a:endParaRPr lang="pt-BR"/>
        </a:p>
      </dgm:t>
    </dgm:pt>
    <dgm:pt modelId="{61EE79E8-884E-4AB3-BBC9-A66BAE573D68}" type="pres">
      <dgm:prSet presAssocID="{776EC1F7-996A-4DD0-A761-236B8084FE3C}" presName="desComposite" presStyleCnt="0"/>
      <dgm:spPr/>
      <dgm:t>
        <a:bodyPr/>
        <a:lstStyle/>
        <a:p>
          <a:endParaRPr lang="pt-BR"/>
        </a:p>
      </dgm:t>
    </dgm:pt>
    <dgm:pt modelId="{40C4B2F5-DDA6-41E2-B2AF-97E4F39909E6}" type="pres">
      <dgm:prSet presAssocID="{776EC1F7-996A-4DD0-A761-236B8084FE3C}" presName="desCircle" presStyleLbl="node1" presStyleIdx="3" presStyleCnt="9"/>
      <dgm:spPr/>
      <dgm:t>
        <a:bodyPr/>
        <a:lstStyle/>
        <a:p>
          <a:endParaRPr lang="pt-BR"/>
        </a:p>
      </dgm:t>
    </dgm:pt>
    <dgm:pt modelId="{F56B5539-3C77-47E1-8754-B43314A96F14}" type="pres">
      <dgm:prSet presAssocID="{776EC1F7-996A-4DD0-A761-236B8084FE3C}" presName="chTx" presStyleLbl="revTx" presStyleIdx="7" presStyleCnt="20"/>
      <dgm:spPr/>
      <dgm:t>
        <a:bodyPr/>
        <a:lstStyle/>
        <a:p>
          <a:endParaRPr lang="pt-BR"/>
        </a:p>
      </dgm:t>
    </dgm:pt>
    <dgm:pt modelId="{0566B732-D545-48BE-881E-52A791DA4ABA}" type="pres">
      <dgm:prSet presAssocID="{776EC1F7-996A-4DD0-A761-236B8084FE3C}" presName="desTx" presStyleLbl="revTx" presStyleIdx="8" presStyleCnt="20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8B6973B3-817C-49CE-93D5-F952D3681F10}" type="pres">
      <dgm:prSet presAssocID="{776EC1F7-996A-4DD0-A761-236B8084FE3C}" presName="desBackupRightNorm" presStyleCnt="0"/>
      <dgm:spPr/>
      <dgm:t>
        <a:bodyPr/>
        <a:lstStyle/>
        <a:p>
          <a:endParaRPr lang="pt-BR"/>
        </a:p>
      </dgm:t>
    </dgm:pt>
    <dgm:pt modelId="{0E1C1D2A-502D-48CE-AEC8-7488D876E2ED}" type="pres">
      <dgm:prSet presAssocID="{38770524-231E-4006-AE1B-7520970ED3E8}" presName="desSpace" presStyleCnt="0"/>
      <dgm:spPr/>
      <dgm:t>
        <a:bodyPr/>
        <a:lstStyle/>
        <a:p>
          <a:endParaRPr lang="pt-BR"/>
        </a:p>
      </dgm:t>
    </dgm:pt>
    <dgm:pt modelId="{7803BCF7-F0D7-4B1D-A3EF-8292C734420A}" type="pres">
      <dgm:prSet presAssocID="{57D3AE1B-73A5-48A4-9A09-1A300CDA4E8B}" presName="parComposite" presStyleCnt="0"/>
      <dgm:spPr/>
      <dgm:t>
        <a:bodyPr/>
        <a:lstStyle/>
        <a:p>
          <a:endParaRPr lang="pt-BR"/>
        </a:p>
      </dgm:t>
    </dgm:pt>
    <dgm:pt modelId="{F87B6F15-59C6-4659-B141-44CA8308F192}" type="pres">
      <dgm:prSet presAssocID="{57D3AE1B-73A5-48A4-9A09-1A300CDA4E8B}" presName="parBigCircle" presStyleLbl="node0" presStyleIdx="1" presStyleCnt="2"/>
      <dgm:spPr/>
      <dgm:t>
        <a:bodyPr/>
        <a:lstStyle/>
        <a:p>
          <a:endParaRPr lang="pt-BR"/>
        </a:p>
      </dgm:t>
    </dgm:pt>
    <dgm:pt modelId="{3EDE9DD2-3243-430B-BFDF-DB42C8C39F0F}" type="pres">
      <dgm:prSet presAssocID="{57D3AE1B-73A5-48A4-9A09-1A300CDA4E8B}" presName="parTx" presStyleLbl="revTx" presStyleIdx="9" presStyleCnt="20"/>
      <dgm:spPr/>
      <dgm:t>
        <a:bodyPr/>
        <a:lstStyle/>
        <a:p>
          <a:endParaRPr lang="pt-BR"/>
        </a:p>
      </dgm:t>
    </dgm:pt>
    <dgm:pt modelId="{54070C43-6009-4E1C-BA92-33271047321C}" type="pres">
      <dgm:prSet presAssocID="{57D3AE1B-73A5-48A4-9A09-1A300CDA4E8B}" presName="bSpace" presStyleCnt="0"/>
      <dgm:spPr/>
      <dgm:t>
        <a:bodyPr/>
        <a:lstStyle/>
        <a:p>
          <a:endParaRPr lang="pt-BR"/>
        </a:p>
      </dgm:t>
    </dgm:pt>
    <dgm:pt modelId="{7F10A9E6-0663-41C6-93C4-F47FB7BD746A}" type="pres">
      <dgm:prSet presAssocID="{57D3AE1B-73A5-48A4-9A09-1A300CDA4E8B}" presName="parBackupNorm" presStyleCnt="0"/>
      <dgm:spPr/>
      <dgm:t>
        <a:bodyPr/>
        <a:lstStyle/>
        <a:p>
          <a:endParaRPr lang="pt-BR"/>
        </a:p>
      </dgm:t>
    </dgm:pt>
    <dgm:pt modelId="{77DCCE78-72A1-491E-BC8D-F3AF5E37D4A8}" type="pres">
      <dgm:prSet presAssocID="{9AF49E6B-4C65-4948-8F33-6E992478EDEF}" presName="parSpace" presStyleCnt="0"/>
      <dgm:spPr/>
      <dgm:t>
        <a:bodyPr/>
        <a:lstStyle/>
        <a:p>
          <a:endParaRPr lang="pt-BR"/>
        </a:p>
      </dgm:t>
    </dgm:pt>
    <dgm:pt modelId="{C74E053A-3AC0-4730-9A92-0F2249A35D8A}" type="pres">
      <dgm:prSet presAssocID="{31715DCE-1033-4F51-AA7E-996A37078C2B}" presName="desBackupLeftNorm" presStyleCnt="0"/>
      <dgm:spPr/>
      <dgm:t>
        <a:bodyPr/>
        <a:lstStyle/>
        <a:p>
          <a:endParaRPr lang="pt-BR"/>
        </a:p>
      </dgm:t>
    </dgm:pt>
    <dgm:pt modelId="{42921E3A-CF41-49D9-A8B2-F862DACD1455}" type="pres">
      <dgm:prSet presAssocID="{31715DCE-1033-4F51-AA7E-996A37078C2B}" presName="desComposite" presStyleCnt="0"/>
      <dgm:spPr/>
      <dgm:t>
        <a:bodyPr/>
        <a:lstStyle/>
        <a:p>
          <a:endParaRPr lang="pt-BR"/>
        </a:p>
      </dgm:t>
    </dgm:pt>
    <dgm:pt modelId="{8DBDFD54-FA06-4E78-B1F9-B5C24B106AA5}" type="pres">
      <dgm:prSet presAssocID="{31715DCE-1033-4F51-AA7E-996A37078C2B}" presName="desCircle" presStyleLbl="node1" presStyleIdx="4" presStyleCnt="9"/>
      <dgm:spPr/>
      <dgm:t>
        <a:bodyPr/>
        <a:lstStyle/>
        <a:p>
          <a:endParaRPr lang="pt-BR"/>
        </a:p>
      </dgm:t>
    </dgm:pt>
    <dgm:pt modelId="{EB6A5027-8CC0-4067-8103-7E8095435049}" type="pres">
      <dgm:prSet presAssocID="{31715DCE-1033-4F51-AA7E-996A37078C2B}" presName="chTx" presStyleLbl="revTx" presStyleIdx="10" presStyleCnt="20"/>
      <dgm:spPr/>
      <dgm:t>
        <a:bodyPr/>
        <a:lstStyle/>
        <a:p>
          <a:endParaRPr lang="pt-BR"/>
        </a:p>
      </dgm:t>
    </dgm:pt>
    <dgm:pt modelId="{B8523729-5ED9-4781-9993-ED44EE714E76}" type="pres">
      <dgm:prSet presAssocID="{31715DCE-1033-4F51-AA7E-996A37078C2B}" presName="desTx" presStyleLbl="revTx" presStyleIdx="11" presStyleCnt="20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2157E965-1A58-4647-B54C-41301E78F91D}" type="pres">
      <dgm:prSet presAssocID="{31715DCE-1033-4F51-AA7E-996A37078C2B}" presName="desBackupRightNorm" presStyleCnt="0"/>
      <dgm:spPr/>
      <dgm:t>
        <a:bodyPr/>
        <a:lstStyle/>
        <a:p>
          <a:endParaRPr lang="pt-BR"/>
        </a:p>
      </dgm:t>
    </dgm:pt>
    <dgm:pt modelId="{2CE77E30-7D1E-4313-BA7A-72425E4B9296}" type="pres">
      <dgm:prSet presAssocID="{F9E991BD-6677-4EFD-8A6E-9B02290356F4}" presName="desSpace" presStyleCnt="0"/>
      <dgm:spPr/>
      <dgm:t>
        <a:bodyPr/>
        <a:lstStyle/>
        <a:p>
          <a:endParaRPr lang="pt-BR"/>
        </a:p>
      </dgm:t>
    </dgm:pt>
    <dgm:pt modelId="{C01DFA6D-43E5-4429-A9B3-E2886C2B08AB}" type="pres">
      <dgm:prSet presAssocID="{AD47C804-6BCC-4DBF-BB15-E03DC61E03B9}" presName="desBackupLeftNorm" presStyleCnt="0"/>
      <dgm:spPr/>
      <dgm:t>
        <a:bodyPr/>
        <a:lstStyle/>
        <a:p>
          <a:endParaRPr lang="pt-BR"/>
        </a:p>
      </dgm:t>
    </dgm:pt>
    <dgm:pt modelId="{7679D52D-7B5F-4A0F-9F3A-A6C3FF6AA255}" type="pres">
      <dgm:prSet presAssocID="{AD47C804-6BCC-4DBF-BB15-E03DC61E03B9}" presName="desComposite" presStyleCnt="0"/>
      <dgm:spPr/>
      <dgm:t>
        <a:bodyPr/>
        <a:lstStyle/>
        <a:p>
          <a:endParaRPr lang="pt-BR"/>
        </a:p>
      </dgm:t>
    </dgm:pt>
    <dgm:pt modelId="{98F6187D-F3FF-4676-8B83-7A42AA5EA52A}" type="pres">
      <dgm:prSet presAssocID="{AD47C804-6BCC-4DBF-BB15-E03DC61E03B9}" presName="desCircle" presStyleLbl="node1" presStyleIdx="5" presStyleCnt="9"/>
      <dgm:spPr/>
      <dgm:t>
        <a:bodyPr/>
        <a:lstStyle/>
        <a:p>
          <a:endParaRPr lang="pt-BR"/>
        </a:p>
      </dgm:t>
    </dgm:pt>
    <dgm:pt modelId="{BF4020F7-F215-45CC-8770-28C12A152C49}" type="pres">
      <dgm:prSet presAssocID="{AD47C804-6BCC-4DBF-BB15-E03DC61E03B9}" presName="chTx" presStyleLbl="revTx" presStyleIdx="12" presStyleCnt="20"/>
      <dgm:spPr/>
      <dgm:t>
        <a:bodyPr/>
        <a:lstStyle/>
        <a:p>
          <a:endParaRPr lang="pt-BR"/>
        </a:p>
      </dgm:t>
    </dgm:pt>
    <dgm:pt modelId="{9D3D5B97-3DE5-4600-B2D0-2F52A3508BAB}" type="pres">
      <dgm:prSet presAssocID="{AD47C804-6BCC-4DBF-BB15-E03DC61E03B9}" presName="desTx" presStyleLbl="revTx" presStyleIdx="13" presStyleCnt="20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AAA258DE-25B0-4EEC-AE45-3BD52C790DDE}" type="pres">
      <dgm:prSet presAssocID="{AD47C804-6BCC-4DBF-BB15-E03DC61E03B9}" presName="desBackupRightNorm" presStyleCnt="0"/>
      <dgm:spPr/>
      <dgm:t>
        <a:bodyPr/>
        <a:lstStyle/>
        <a:p>
          <a:endParaRPr lang="pt-BR"/>
        </a:p>
      </dgm:t>
    </dgm:pt>
    <dgm:pt modelId="{73CBFFD3-6A7B-4D17-8702-83FFF281EEA4}" type="pres">
      <dgm:prSet presAssocID="{EE2326E8-1323-4F79-A0FD-AE89729D24D6}" presName="desSpace" presStyleCnt="0"/>
      <dgm:spPr/>
      <dgm:t>
        <a:bodyPr/>
        <a:lstStyle/>
        <a:p>
          <a:endParaRPr lang="pt-BR"/>
        </a:p>
      </dgm:t>
    </dgm:pt>
    <dgm:pt modelId="{AF334E5A-D793-4FA0-A5C5-0D5AA4768030}" type="pres">
      <dgm:prSet presAssocID="{3BB52753-ADB0-4BB6-8892-2A780252071D}" presName="desBackupLeftNorm" presStyleCnt="0"/>
      <dgm:spPr/>
      <dgm:t>
        <a:bodyPr/>
        <a:lstStyle/>
        <a:p>
          <a:endParaRPr lang="pt-BR"/>
        </a:p>
      </dgm:t>
    </dgm:pt>
    <dgm:pt modelId="{52773FDC-4772-4F97-BC48-7D43FDF59697}" type="pres">
      <dgm:prSet presAssocID="{3BB52753-ADB0-4BB6-8892-2A780252071D}" presName="desComposite" presStyleCnt="0"/>
      <dgm:spPr/>
      <dgm:t>
        <a:bodyPr/>
        <a:lstStyle/>
        <a:p>
          <a:endParaRPr lang="pt-BR"/>
        </a:p>
      </dgm:t>
    </dgm:pt>
    <dgm:pt modelId="{285EB5AC-902D-472C-844D-916AF60547E4}" type="pres">
      <dgm:prSet presAssocID="{3BB52753-ADB0-4BB6-8892-2A780252071D}" presName="desCircle" presStyleLbl="node1" presStyleIdx="6" presStyleCnt="9"/>
      <dgm:spPr/>
      <dgm:t>
        <a:bodyPr/>
        <a:lstStyle/>
        <a:p>
          <a:endParaRPr lang="pt-BR"/>
        </a:p>
      </dgm:t>
    </dgm:pt>
    <dgm:pt modelId="{8CA68C6F-E3B6-46A7-A9B1-B780AB0310AB}" type="pres">
      <dgm:prSet presAssocID="{3BB52753-ADB0-4BB6-8892-2A780252071D}" presName="chTx" presStyleLbl="revTx" presStyleIdx="14" presStyleCnt="20"/>
      <dgm:spPr/>
      <dgm:t>
        <a:bodyPr/>
        <a:lstStyle/>
        <a:p>
          <a:endParaRPr lang="pt-BR"/>
        </a:p>
      </dgm:t>
    </dgm:pt>
    <dgm:pt modelId="{2BF1D30D-A645-461B-8B53-6D37647F8F3F}" type="pres">
      <dgm:prSet presAssocID="{3BB52753-ADB0-4BB6-8892-2A780252071D}" presName="desTx" presStyleLbl="revTx" presStyleIdx="15" presStyleCnt="20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62DE114B-FE75-4C07-93B2-1FFC0F4EA50E}" type="pres">
      <dgm:prSet presAssocID="{3BB52753-ADB0-4BB6-8892-2A780252071D}" presName="desBackupRightNorm" presStyleCnt="0"/>
      <dgm:spPr/>
      <dgm:t>
        <a:bodyPr/>
        <a:lstStyle/>
        <a:p>
          <a:endParaRPr lang="pt-BR"/>
        </a:p>
      </dgm:t>
    </dgm:pt>
    <dgm:pt modelId="{EACB1369-3186-4D39-944D-48FC110BAFF2}" type="pres">
      <dgm:prSet presAssocID="{1C8E540D-7B46-4518-9099-0937C9256430}" presName="desSpace" presStyleCnt="0"/>
      <dgm:spPr/>
      <dgm:t>
        <a:bodyPr/>
        <a:lstStyle/>
        <a:p>
          <a:endParaRPr lang="pt-BR"/>
        </a:p>
      </dgm:t>
    </dgm:pt>
    <dgm:pt modelId="{514ACA26-0E7A-4799-8323-8E78A018FE1A}" type="pres">
      <dgm:prSet presAssocID="{DBC45600-1869-4512-A3AB-AA97CD7EB4A9}" presName="desBackupLeftNorm" presStyleCnt="0"/>
      <dgm:spPr/>
      <dgm:t>
        <a:bodyPr/>
        <a:lstStyle/>
        <a:p>
          <a:endParaRPr lang="pt-BR"/>
        </a:p>
      </dgm:t>
    </dgm:pt>
    <dgm:pt modelId="{5A25D132-820E-44C3-AAA4-0E752E0B8155}" type="pres">
      <dgm:prSet presAssocID="{DBC45600-1869-4512-A3AB-AA97CD7EB4A9}" presName="desComposite" presStyleCnt="0"/>
      <dgm:spPr/>
      <dgm:t>
        <a:bodyPr/>
        <a:lstStyle/>
        <a:p>
          <a:endParaRPr lang="pt-BR"/>
        </a:p>
      </dgm:t>
    </dgm:pt>
    <dgm:pt modelId="{B554C5DC-DEEA-4AE2-942F-B531DCD6A4BC}" type="pres">
      <dgm:prSet presAssocID="{DBC45600-1869-4512-A3AB-AA97CD7EB4A9}" presName="desCircle" presStyleLbl="node1" presStyleIdx="7" presStyleCnt="9"/>
      <dgm:spPr/>
      <dgm:t>
        <a:bodyPr/>
        <a:lstStyle/>
        <a:p>
          <a:endParaRPr lang="pt-BR"/>
        </a:p>
      </dgm:t>
    </dgm:pt>
    <dgm:pt modelId="{D0E61BE3-08C2-42D5-B308-61E0BFDF64D4}" type="pres">
      <dgm:prSet presAssocID="{DBC45600-1869-4512-A3AB-AA97CD7EB4A9}" presName="chTx" presStyleLbl="revTx" presStyleIdx="16" presStyleCnt="20"/>
      <dgm:spPr/>
      <dgm:t>
        <a:bodyPr/>
        <a:lstStyle/>
        <a:p>
          <a:endParaRPr lang="pt-BR"/>
        </a:p>
      </dgm:t>
    </dgm:pt>
    <dgm:pt modelId="{0B76364A-724C-4D60-B742-8B2007D3D83F}" type="pres">
      <dgm:prSet presAssocID="{DBC45600-1869-4512-A3AB-AA97CD7EB4A9}" presName="desTx" presStyleLbl="revTx" presStyleIdx="17" presStyleCnt="20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9F886749-129F-4F94-8FDC-026B682698D1}" type="pres">
      <dgm:prSet presAssocID="{DBC45600-1869-4512-A3AB-AA97CD7EB4A9}" presName="desBackupRightNorm" presStyleCnt="0"/>
      <dgm:spPr/>
      <dgm:t>
        <a:bodyPr/>
        <a:lstStyle/>
        <a:p>
          <a:endParaRPr lang="pt-BR"/>
        </a:p>
      </dgm:t>
    </dgm:pt>
    <dgm:pt modelId="{AA708E94-3504-4DF0-823F-FB4565134AB9}" type="pres">
      <dgm:prSet presAssocID="{F882C3DF-3E75-4E91-BA5E-46A9A7E0E4AC}" presName="desSpace" presStyleCnt="0"/>
      <dgm:spPr/>
      <dgm:t>
        <a:bodyPr/>
        <a:lstStyle/>
        <a:p>
          <a:endParaRPr lang="pt-BR"/>
        </a:p>
      </dgm:t>
    </dgm:pt>
    <dgm:pt modelId="{72A47222-7749-4661-A2AF-8C4E7D69F1FD}" type="pres">
      <dgm:prSet presAssocID="{D3D679E8-8BB4-4301-8A72-28E361C78A32}" presName="desBackupLeftNorm" presStyleCnt="0"/>
      <dgm:spPr/>
      <dgm:t>
        <a:bodyPr/>
        <a:lstStyle/>
        <a:p>
          <a:endParaRPr lang="pt-BR"/>
        </a:p>
      </dgm:t>
    </dgm:pt>
    <dgm:pt modelId="{60290D84-22F4-40D2-838C-4E1970F94875}" type="pres">
      <dgm:prSet presAssocID="{D3D679E8-8BB4-4301-8A72-28E361C78A32}" presName="desComposite" presStyleCnt="0"/>
      <dgm:spPr/>
      <dgm:t>
        <a:bodyPr/>
        <a:lstStyle/>
        <a:p>
          <a:endParaRPr lang="pt-BR"/>
        </a:p>
      </dgm:t>
    </dgm:pt>
    <dgm:pt modelId="{17B6CC0B-51B2-49F4-99D4-5638832F0DB8}" type="pres">
      <dgm:prSet presAssocID="{D3D679E8-8BB4-4301-8A72-28E361C78A32}" presName="desCircle" presStyleLbl="node1" presStyleIdx="8" presStyleCnt="9"/>
      <dgm:spPr/>
      <dgm:t>
        <a:bodyPr/>
        <a:lstStyle/>
        <a:p>
          <a:endParaRPr lang="pt-BR"/>
        </a:p>
      </dgm:t>
    </dgm:pt>
    <dgm:pt modelId="{D911B9EF-06FF-4EFF-B38F-46F7111F856E}" type="pres">
      <dgm:prSet presAssocID="{D3D679E8-8BB4-4301-8A72-28E361C78A32}" presName="chTx" presStyleLbl="revTx" presStyleIdx="18" presStyleCnt="20"/>
      <dgm:spPr/>
      <dgm:t>
        <a:bodyPr/>
        <a:lstStyle/>
        <a:p>
          <a:endParaRPr lang="pt-BR"/>
        </a:p>
      </dgm:t>
    </dgm:pt>
    <dgm:pt modelId="{9F22E223-C03C-4A17-985E-B8945A116FFF}" type="pres">
      <dgm:prSet presAssocID="{D3D679E8-8BB4-4301-8A72-28E361C78A32}" presName="desTx" presStyleLbl="revTx" presStyleIdx="19" presStyleCnt="20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98EB0A87-90C1-4AE9-8C2B-E508EB9E09A0}" type="pres">
      <dgm:prSet presAssocID="{D3D679E8-8BB4-4301-8A72-28E361C78A32}" presName="desBackupRightNorm" presStyleCnt="0"/>
      <dgm:spPr/>
      <dgm:t>
        <a:bodyPr/>
        <a:lstStyle/>
        <a:p>
          <a:endParaRPr lang="pt-BR"/>
        </a:p>
      </dgm:t>
    </dgm:pt>
    <dgm:pt modelId="{6785AC24-B12F-4FBA-A2E1-E2791399D68A}" type="pres">
      <dgm:prSet presAssocID="{5EFF03F7-4D5E-4385-A110-DBFD9FD0D1B1}" presName="desSpace" presStyleCnt="0"/>
      <dgm:spPr/>
      <dgm:t>
        <a:bodyPr/>
        <a:lstStyle/>
        <a:p>
          <a:endParaRPr lang="pt-BR"/>
        </a:p>
      </dgm:t>
    </dgm:pt>
  </dgm:ptLst>
  <dgm:cxnLst>
    <dgm:cxn modelId="{7DA0130F-E37F-4618-82CF-FEFD9864A3C8}" srcId="{57D3AE1B-73A5-48A4-9A09-1A300CDA4E8B}" destId="{3BB52753-ADB0-4BB6-8892-2A780252071D}" srcOrd="2" destOrd="0" parTransId="{AFE8199E-AEBE-427E-8575-5D3465B6D755}" sibTransId="{1C8E540D-7B46-4518-9099-0937C9256430}"/>
    <dgm:cxn modelId="{09E56710-7618-4C3C-BC5E-47C6A6AA5670}" type="presOf" srcId="{DBC45600-1869-4512-A3AB-AA97CD7EB4A9}" destId="{D0E61BE3-08C2-42D5-B308-61E0BFDF64D4}" srcOrd="0" destOrd="0" presId="urn:microsoft.com/office/officeart/2008/layout/CircleAccentTimeline"/>
    <dgm:cxn modelId="{F0A3AD09-BD83-407D-B48C-B1B325D6F35E}" srcId="{57D3AE1B-73A5-48A4-9A09-1A300CDA4E8B}" destId="{AD47C804-6BCC-4DBF-BB15-E03DC61E03B9}" srcOrd="1" destOrd="0" parTransId="{59D69028-5AFB-42D5-AED0-4DA4B138E63C}" sibTransId="{EE2326E8-1323-4F79-A0FD-AE89729D24D6}"/>
    <dgm:cxn modelId="{F0340E11-4A53-4D0E-8F40-85635216F016}" srcId="{57D3AE1B-73A5-48A4-9A09-1A300CDA4E8B}" destId="{DBC45600-1869-4512-A3AB-AA97CD7EB4A9}" srcOrd="3" destOrd="0" parTransId="{16498317-318F-4429-8126-9630370E148E}" sibTransId="{F882C3DF-3E75-4E91-BA5E-46A9A7E0E4AC}"/>
    <dgm:cxn modelId="{DE3D1B99-AF66-4DAF-AF64-257C4A906EDD}" srcId="{26566767-DCC0-4231-911B-DF7E9F672A5E}" destId="{C7C7A2F3-4812-4F69-970D-66ACBF5D1559}" srcOrd="0" destOrd="0" parTransId="{F8523C37-3D7C-496F-8639-AACF87921392}" sibTransId="{2160F81B-E270-4FFF-8EA0-8E2A6A32953B}"/>
    <dgm:cxn modelId="{9FC67D68-7B47-4452-95DE-888C5EB11731}" type="presOf" srcId="{D3D679E8-8BB4-4301-8A72-28E361C78A32}" destId="{D911B9EF-06FF-4EFF-B38F-46F7111F856E}" srcOrd="0" destOrd="0" presId="urn:microsoft.com/office/officeart/2008/layout/CircleAccentTimeline"/>
    <dgm:cxn modelId="{26B24FB8-DEA4-49AE-AD8F-90B134B81900}" type="presOf" srcId="{31715DCE-1033-4F51-AA7E-996A37078C2B}" destId="{EB6A5027-8CC0-4067-8103-7E8095435049}" srcOrd="0" destOrd="0" presId="urn:microsoft.com/office/officeart/2008/layout/CircleAccentTimeline"/>
    <dgm:cxn modelId="{53FEFBA6-E549-4B56-9364-650E27B890B0}" type="presOf" srcId="{3BB52753-ADB0-4BB6-8892-2A780252071D}" destId="{8CA68C6F-E3B6-46A7-A9B1-B780AB0310AB}" srcOrd="0" destOrd="0" presId="urn:microsoft.com/office/officeart/2008/layout/CircleAccentTimeline"/>
    <dgm:cxn modelId="{51CC282A-332E-4D31-A3C8-0B3023FFA162}" srcId="{26566767-DCC0-4231-911B-DF7E9F672A5E}" destId="{776EC1F7-996A-4DD0-A761-236B8084FE3C}" srcOrd="3" destOrd="0" parTransId="{85715835-C126-456E-B66C-D52AF0D21E7A}" sibTransId="{38770524-231E-4006-AE1B-7520970ED3E8}"/>
    <dgm:cxn modelId="{A4402329-CBE0-411B-B24E-FB13526F5DCA}" type="presOf" srcId="{7DC18236-30EB-4302-A4DA-2190886A08E9}" destId="{02CA001B-E24E-4625-8CFA-1A6C755C930E}" srcOrd="0" destOrd="0" presId="urn:microsoft.com/office/officeart/2008/layout/CircleAccentTimeline"/>
    <dgm:cxn modelId="{723C1983-0D86-4400-927A-962F21E97D16}" type="presOf" srcId="{5A4F4D41-DDF6-494A-8DDF-DBA20DF76974}" destId="{593E5578-D846-4CF3-A9D5-73E453066575}" srcOrd="0" destOrd="0" presId="urn:microsoft.com/office/officeart/2008/layout/CircleAccentTimeline"/>
    <dgm:cxn modelId="{4F8F2CC3-A0DC-4E84-9352-21B8514091BF}" type="presOf" srcId="{AD47C804-6BCC-4DBF-BB15-E03DC61E03B9}" destId="{BF4020F7-F215-45CC-8770-28C12A152C49}" srcOrd="0" destOrd="0" presId="urn:microsoft.com/office/officeart/2008/layout/CircleAccentTimeline"/>
    <dgm:cxn modelId="{BD569AF1-6E8F-41F4-9355-457C05098B09}" type="presOf" srcId="{26566767-DCC0-4231-911B-DF7E9F672A5E}" destId="{6F73384A-DB24-4E9B-9313-3EFB3DDE8577}" srcOrd="0" destOrd="0" presId="urn:microsoft.com/office/officeart/2008/layout/CircleAccentTimeline"/>
    <dgm:cxn modelId="{AAD69A32-7C1E-4430-9A5F-E68E6A5147F8}" srcId="{57D3AE1B-73A5-48A4-9A09-1A300CDA4E8B}" destId="{D3D679E8-8BB4-4301-8A72-28E361C78A32}" srcOrd="4" destOrd="0" parTransId="{5531F80A-1DCD-4AC7-8D81-F0376F2F2ECF}" sibTransId="{5EFF03F7-4D5E-4385-A110-DBFD9FD0D1B1}"/>
    <dgm:cxn modelId="{9B6E3616-157E-4AD2-B766-02F884924717}" type="presOf" srcId="{C7C7A2F3-4812-4F69-970D-66ACBF5D1559}" destId="{6FC2B767-AFE4-4C94-BFD2-2853D88B54E5}" srcOrd="0" destOrd="0" presId="urn:microsoft.com/office/officeart/2008/layout/CircleAccentTimeline"/>
    <dgm:cxn modelId="{C4DA5776-1389-492B-9185-A0B1B842ADE3}" srcId="{26566767-DCC0-4231-911B-DF7E9F672A5E}" destId="{5A4F4D41-DDF6-494A-8DDF-DBA20DF76974}" srcOrd="1" destOrd="0" parTransId="{1151E5EA-0103-462A-B969-10246FCB6120}" sibTransId="{7E922CEC-986E-427E-8CAC-FE2ADD87AAE1}"/>
    <dgm:cxn modelId="{C9E21DA0-2457-4C0B-9D17-01267759B983}" type="presOf" srcId="{776EC1F7-996A-4DD0-A761-236B8084FE3C}" destId="{F56B5539-3C77-47E1-8754-B43314A96F14}" srcOrd="0" destOrd="0" presId="urn:microsoft.com/office/officeart/2008/layout/CircleAccentTimeline"/>
    <dgm:cxn modelId="{759640F5-3B3C-4255-B696-7C8AB98AFFA9}" srcId="{FD8CB35D-9AA8-4D3B-85BD-0C98676B30A3}" destId="{26566767-DCC0-4231-911B-DF7E9F672A5E}" srcOrd="0" destOrd="0" parTransId="{A2092705-1AF7-46AC-8EBA-770D8371CA18}" sibTransId="{6E1566C3-BB28-4580-B079-0BF96AF88419}"/>
    <dgm:cxn modelId="{12942AFA-89B1-4743-B8DD-9D2B2CFB3119}" type="presOf" srcId="{FD8CB35D-9AA8-4D3B-85BD-0C98676B30A3}" destId="{1A704293-4A00-4269-9793-84EF60BB46E7}" srcOrd="0" destOrd="0" presId="urn:microsoft.com/office/officeart/2008/layout/CircleAccentTimeline"/>
    <dgm:cxn modelId="{81F5675D-8D22-4648-8B19-57BE543549BF}" type="presOf" srcId="{57D3AE1B-73A5-48A4-9A09-1A300CDA4E8B}" destId="{3EDE9DD2-3243-430B-BFDF-DB42C8C39F0F}" srcOrd="0" destOrd="0" presId="urn:microsoft.com/office/officeart/2008/layout/CircleAccentTimeline"/>
    <dgm:cxn modelId="{BDC3B72E-0527-4D43-8C8C-47DE50D8533C}" srcId="{26566767-DCC0-4231-911B-DF7E9F672A5E}" destId="{7DC18236-30EB-4302-A4DA-2190886A08E9}" srcOrd="2" destOrd="0" parTransId="{5226747E-1F3F-4544-A490-D72812649869}" sibTransId="{A3714163-7465-460C-B689-F1432FA66DF2}"/>
    <dgm:cxn modelId="{E39D2092-86B5-4605-A89B-5A4845451C08}" srcId="{57D3AE1B-73A5-48A4-9A09-1A300CDA4E8B}" destId="{31715DCE-1033-4F51-AA7E-996A37078C2B}" srcOrd="0" destOrd="0" parTransId="{B39B534A-E900-4C50-9B97-9FA90BE57A88}" sibTransId="{F9E991BD-6677-4EFD-8A6E-9B02290356F4}"/>
    <dgm:cxn modelId="{8C714905-7576-4B2D-97CF-4B4157564734}" srcId="{FD8CB35D-9AA8-4D3B-85BD-0C98676B30A3}" destId="{57D3AE1B-73A5-48A4-9A09-1A300CDA4E8B}" srcOrd="1" destOrd="0" parTransId="{4F68B22E-2095-4F18-948D-3D45345C9EBD}" sibTransId="{9AF49E6B-4C65-4948-8F33-6E992478EDEF}"/>
    <dgm:cxn modelId="{BB07845C-774A-40BA-8E5E-3F0C1C7A9E42}" type="presParOf" srcId="{1A704293-4A00-4269-9793-84EF60BB46E7}" destId="{A4C70CCE-E506-430D-8CE9-E3F0C822F8C1}" srcOrd="0" destOrd="0" presId="urn:microsoft.com/office/officeart/2008/layout/CircleAccentTimeline"/>
    <dgm:cxn modelId="{D672DB55-2764-481B-81AF-FAE3856F635C}" type="presParOf" srcId="{A4C70CCE-E506-430D-8CE9-E3F0C822F8C1}" destId="{56AEF2CF-BD74-47E9-9224-4EAC05CF5B8D}" srcOrd="0" destOrd="0" presId="urn:microsoft.com/office/officeart/2008/layout/CircleAccentTimeline"/>
    <dgm:cxn modelId="{7363EC2B-C2B9-453C-A6B1-7B13F25C9CEB}" type="presParOf" srcId="{A4C70CCE-E506-430D-8CE9-E3F0C822F8C1}" destId="{6F73384A-DB24-4E9B-9313-3EFB3DDE8577}" srcOrd="1" destOrd="0" presId="urn:microsoft.com/office/officeart/2008/layout/CircleAccentTimeline"/>
    <dgm:cxn modelId="{FFAD0E21-5CF8-47C7-AC4A-86826A4313A0}" type="presParOf" srcId="{A4C70CCE-E506-430D-8CE9-E3F0C822F8C1}" destId="{12B297DC-E2BD-43F9-AB76-F334910D5A94}" srcOrd="2" destOrd="0" presId="urn:microsoft.com/office/officeart/2008/layout/CircleAccentTimeline"/>
    <dgm:cxn modelId="{9F21812E-8584-48C1-9C2B-911D66FAD941}" type="presParOf" srcId="{1A704293-4A00-4269-9793-84EF60BB46E7}" destId="{C054349A-9079-4978-A10C-80B4000B73E6}" srcOrd="1" destOrd="0" presId="urn:microsoft.com/office/officeart/2008/layout/CircleAccentTimeline"/>
    <dgm:cxn modelId="{4951805D-E0D1-416D-9A6D-D40CE2452556}" type="presParOf" srcId="{1A704293-4A00-4269-9793-84EF60BB46E7}" destId="{24C5703B-3128-468D-93D7-5B64EFF7DC5D}" srcOrd="2" destOrd="0" presId="urn:microsoft.com/office/officeart/2008/layout/CircleAccentTimeline"/>
    <dgm:cxn modelId="{DD8A84E7-F939-4198-9EE4-C97D020F132B}" type="presParOf" srcId="{1A704293-4A00-4269-9793-84EF60BB46E7}" destId="{C8C3D363-C41D-401A-AFB6-4434C784C1EC}" srcOrd="3" destOrd="0" presId="urn:microsoft.com/office/officeart/2008/layout/CircleAccentTimeline"/>
    <dgm:cxn modelId="{2BB9C42F-CFA1-4AB1-88CF-9A2C40C2B559}" type="presParOf" srcId="{1A704293-4A00-4269-9793-84EF60BB46E7}" destId="{F8A11BC1-02E6-4CDC-AF95-1C0410A3A4A7}" srcOrd="4" destOrd="0" presId="urn:microsoft.com/office/officeart/2008/layout/CircleAccentTimeline"/>
    <dgm:cxn modelId="{5F9105C8-800A-4795-9550-1B8469995EE7}" type="presParOf" srcId="{F8A11BC1-02E6-4CDC-AF95-1C0410A3A4A7}" destId="{988C035B-BE7B-49C8-9002-27080AEB6D54}" srcOrd="0" destOrd="0" presId="urn:microsoft.com/office/officeart/2008/layout/CircleAccentTimeline"/>
    <dgm:cxn modelId="{2211C6EE-2994-46AA-B134-5A2D09E69879}" type="presParOf" srcId="{F8A11BC1-02E6-4CDC-AF95-1C0410A3A4A7}" destId="{6FC2B767-AFE4-4C94-BFD2-2853D88B54E5}" srcOrd="1" destOrd="0" presId="urn:microsoft.com/office/officeart/2008/layout/CircleAccentTimeline"/>
    <dgm:cxn modelId="{0EA64122-3745-415B-807F-512B928D68EE}" type="presParOf" srcId="{F8A11BC1-02E6-4CDC-AF95-1C0410A3A4A7}" destId="{28CB7A41-49F4-4D56-842A-D68F369A6307}" srcOrd="2" destOrd="0" presId="urn:microsoft.com/office/officeart/2008/layout/CircleAccentTimeline"/>
    <dgm:cxn modelId="{CF6CD263-D3D2-445E-9FBF-51300DE4F158}" type="presParOf" srcId="{1A704293-4A00-4269-9793-84EF60BB46E7}" destId="{2E05AE3C-6A23-4215-B26B-538A0976C366}" srcOrd="5" destOrd="0" presId="urn:microsoft.com/office/officeart/2008/layout/CircleAccentTimeline"/>
    <dgm:cxn modelId="{89F6B536-8A94-4C66-A247-47D14D57FC37}" type="presParOf" srcId="{1A704293-4A00-4269-9793-84EF60BB46E7}" destId="{005D9CD6-8A5B-4B3C-9772-455DA646C6D5}" srcOrd="6" destOrd="0" presId="urn:microsoft.com/office/officeart/2008/layout/CircleAccentTimeline"/>
    <dgm:cxn modelId="{574E3C74-6EF8-45DA-84EF-0D45017412BA}" type="presParOf" srcId="{1A704293-4A00-4269-9793-84EF60BB46E7}" destId="{F5F5C2A5-CD2A-4BF3-9E7D-9CC3E927F990}" srcOrd="7" destOrd="0" presId="urn:microsoft.com/office/officeart/2008/layout/CircleAccentTimeline"/>
    <dgm:cxn modelId="{C8BF4B96-7F5E-4C20-8423-E843262694AB}" type="presParOf" srcId="{1A704293-4A00-4269-9793-84EF60BB46E7}" destId="{00904F4D-D009-481C-BDD7-C81BF30DD670}" srcOrd="8" destOrd="0" presId="urn:microsoft.com/office/officeart/2008/layout/CircleAccentTimeline"/>
    <dgm:cxn modelId="{CFA04631-D453-4A89-9595-9A6ADB88B253}" type="presParOf" srcId="{00904F4D-D009-481C-BDD7-C81BF30DD670}" destId="{46B25F0D-D431-4949-81A0-676174D34183}" srcOrd="0" destOrd="0" presId="urn:microsoft.com/office/officeart/2008/layout/CircleAccentTimeline"/>
    <dgm:cxn modelId="{D8835994-2483-4000-8157-19B7993CC401}" type="presParOf" srcId="{00904F4D-D009-481C-BDD7-C81BF30DD670}" destId="{593E5578-D846-4CF3-A9D5-73E453066575}" srcOrd="1" destOrd="0" presId="urn:microsoft.com/office/officeart/2008/layout/CircleAccentTimeline"/>
    <dgm:cxn modelId="{94E90D8C-B155-4993-82EF-062C74DF35F2}" type="presParOf" srcId="{00904F4D-D009-481C-BDD7-C81BF30DD670}" destId="{A1AA65C6-9A13-4697-920B-109CDD4DDA94}" srcOrd="2" destOrd="0" presId="urn:microsoft.com/office/officeart/2008/layout/CircleAccentTimeline"/>
    <dgm:cxn modelId="{0361BFD9-A2C6-4929-8F55-14A2703722CF}" type="presParOf" srcId="{1A704293-4A00-4269-9793-84EF60BB46E7}" destId="{6E357F85-05B6-4B53-9066-7FB07E9EAA3E}" srcOrd="9" destOrd="0" presId="urn:microsoft.com/office/officeart/2008/layout/CircleAccentTimeline"/>
    <dgm:cxn modelId="{B227F63B-C355-4609-9CC1-7C03578D5AA6}" type="presParOf" srcId="{1A704293-4A00-4269-9793-84EF60BB46E7}" destId="{387B4C12-958B-44D9-A807-6D6D9A880085}" srcOrd="10" destOrd="0" presId="urn:microsoft.com/office/officeart/2008/layout/CircleAccentTimeline"/>
    <dgm:cxn modelId="{17D0994C-615E-4B85-985A-E2A9600581A7}" type="presParOf" srcId="{1A704293-4A00-4269-9793-84EF60BB46E7}" destId="{84CCE456-9A31-4DEE-BAB7-3AAB4DB7BF78}" srcOrd="11" destOrd="0" presId="urn:microsoft.com/office/officeart/2008/layout/CircleAccentTimeline"/>
    <dgm:cxn modelId="{E2FFBB39-B2E7-4976-8FE5-2F1C297E7016}" type="presParOf" srcId="{1A704293-4A00-4269-9793-84EF60BB46E7}" destId="{DC73377C-628A-4405-9964-724C2189D1E3}" srcOrd="12" destOrd="0" presId="urn:microsoft.com/office/officeart/2008/layout/CircleAccentTimeline"/>
    <dgm:cxn modelId="{F6A8B59B-26BA-4A22-8BE3-34238DC8105D}" type="presParOf" srcId="{DC73377C-628A-4405-9964-724C2189D1E3}" destId="{3FC968D4-1463-4BB8-8E4F-74B77036556E}" srcOrd="0" destOrd="0" presId="urn:microsoft.com/office/officeart/2008/layout/CircleAccentTimeline"/>
    <dgm:cxn modelId="{B15FC607-D930-456B-B0FF-199CBA1039BC}" type="presParOf" srcId="{DC73377C-628A-4405-9964-724C2189D1E3}" destId="{02CA001B-E24E-4625-8CFA-1A6C755C930E}" srcOrd="1" destOrd="0" presId="urn:microsoft.com/office/officeart/2008/layout/CircleAccentTimeline"/>
    <dgm:cxn modelId="{AA4432D3-1DF1-45F3-82D7-8196C057566A}" type="presParOf" srcId="{DC73377C-628A-4405-9964-724C2189D1E3}" destId="{E0FD4796-E7AB-488D-9336-DB3CCBEFE335}" srcOrd="2" destOrd="0" presId="urn:microsoft.com/office/officeart/2008/layout/CircleAccentTimeline"/>
    <dgm:cxn modelId="{B044C700-8B52-46C1-9B12-4784C6F5C31F}" type="presParOf" srcId="{1A704293-4A00-4269-9793-84EF60BB46E7}" destId="{AE72B25E-0A65-488B-9C29-B1D763436A57}" srcOrd="13" destOrd="0" presId="urn:microsoft.com/office/officeart/2008/layout/CircleAccentTimeline"/>
    <dgm:cxn modelId="{F55EDC9C-7BE8-42E4-AC1C-767EEC73BDA6}" type="presParOf" srcId="{1A704293-4A00-4269-9793-84EF60BB46E7}" destId="{341DCFA4-81F2-46C5-B89F-D9D6359A3202}" srcOrd="14" destOrd="0" presId="urn:microsoft.com/office/officeart/2008/layout/CircleAccentTimeline"/>
    <dgm:cxn modelId="{D4C99CD3-1572-43FA-BAF4-5E281A83147F}" type="presParOf" srcId="{1A704293-4A00-4269-9793-84EF60BB46E7}" destId="{B5ECE69A-1709-46E5-B808-E420C4621320}" srcOrd="15" destOrd="0" presId="urn:microsoft.com/office/officeart/2008/layout/CircleAccentTimeline"/>
    <dgm:cxn modelId="{039DA607-9B88-481B-976E-05242A078086}" type="presParOf" srcId="{1A704293-4A00-4269-9793-84EF60BB46E7}" destId="{61EE79E8-884E-4AB3-BBC9-A66BAE573D68}" srcOrd="16" destOrd="0" presId="urn:microsoft.com/office/officeart/2008/layout/CircleAccentTimeline"/>
    <dgm:cxn modelId="{61C82934-EA3D-4781-A9B7-526668BFB940}" type="presParOf" srcId="{61EE79E8-884E-4AB3-BBC9-A66BAE573D68}" destId="{40C4B2F5-DDA6-41E2-B2AF-97E4F39909E6}" srcOrd="0" destOrd="0" presId="urn:microsoft.com/office/officeart/2008/layout/CircleAccentTimeline"/>
    <dgm:cxn modelId="{4C44AC95-89EA-40CE-89C2-E9B9DAD6A54D}" type="presParOf" srcId="{61EE79E8-884E-4AB3-BBC9-A66BAE573D68}" destId="{F56B5539-3C77-47E1-8754-B43314A96F14}" srcOrd="1" destOrd="0" presId="urn:microsoft.com/office/officeart/2008/layout/CircleAccentTimeline"/>
    <dgm:cxn modelId="{083C9165-5B06-4206-966D-CB999730116F}" type="presParOf" srcId="{61EE79E8-884E-4AB3-BBC9-A66BAE573D68}" destId="{0566B732-D545-48BE-881E-52A791DA4ABA}" srcOrd="2" destOrd="0" presId="urn:microsoft.com/office/officeart/2008/layout/CircleAccentTimeline"/>
    <dgm:cxn modelId="{9F006B40-1D0E-4A13-916D-1E77C1F6CD2E}" type="presParOf" srcId="{1A704293-4A00-4269-9793-84EF60BB46E7}" destId="{8B6973B3-817C-49CE-93D5-F952D3681F10}" srcOrd="17" destOrd="0" presId="urn:microsoft.com/office/officeart/2008/layout/CircleAccentTimeline"/>
    <dgm:cxn modelId="{0895458A-1494-4CDC-A14B-FBBAE893233E}" type="presParOf" srcId="{1A704293-4A00-4269-9793-84EF60BB46E7}" destId="{0E1C1D2A-502D-48CE-AEC8-7488D876E2ED}" srcOrd="18" destOrd="0" presId="urn:microsoft.com/office/officeart/2008/layout/CircleAccentTimeline"/>
    <dgm:cxn modelId="{37DB1903-36B1-4AC5-ACF9-68084A74FB14}" type="presParOf" srcId="{1A704293-4A00-4269-9793-84EF60BB46E7}" destId="{7803BCF7-F0D7-4B1D-A3EF-8292C734420A}" srcOrd="19" destOrd="0" presId="urn:microsoft.com/office/officeart/2008/layout/CircleAccentTimeline"/>
    <dgm:cxn modelId="{5E938EDA-E0C8-463E-A630-D313027B9086}" type="presParOf" srcId="{7803BCF7-F0D7-4B1D-A3EF-8292C734420A}" destId="{F87B6F15-59C6-4659-B141-44CA8308F192}" srcOrd="0" destOrd="0" presId="urn:microsoft.com/office/officeart/2008/layout/CircleAccentTimeline"/>
    <dgm:cxn modelId="{99BFB4AC-2DEE-4F7F-B15C-3957B1DB0AE9}" type="presParOf" srcId="{7803BCF7-F0D7-4B1D-A3EF-8292C734420A}" destId="{3EDE9DD2-3243-430B-BFDF-DB42C8C39F0F}" srcOrd="1" destOrd="0" presId="urn:microsoft.com/office/officeart/2008/layout/CircleAccentTimeline"/>
    <dgm:cxn modelId="{FE855B81-F183-4D73-BF9A-1B5295E1F1EE}" type="presParOf" srcId="{7803BCF7-F0D7-4B1D-A3EF-8292C734420A}" destId="{54070C43-6009-4E1C-BA92-33271047321C}" srcOrd="2" destOrd="0" presId="urn:microsoft.com/office/officeart/2008/layout/CircleAccentTimeline"/>
    <dgm:cxn modelId="{2692D344-AC5C-454C-B8BD-E8392781A0B2}" type="presParOf" srcId="{1A704293-4A00-4269-9793-84EF60BB46E7}" destId="{7F10A9E6-0663-41C6-93C4-F47FB7BD746A}" srcOrd="20" destOrd="0" presId="urn:microsoft.com/office/officeart/2008/layout/CircleAccentTimeline"/>
    <dgm:cxn modelId="{8DA226F5-AF15-4FB2-A183-31D16AB57BA5}" type="presParOf" srcId="{1A704293-4A00-4269-9793-84EF60BB46E7}" destId="{77DCCE78-72A1-491E-BC8D-F3AF5E37D4A8}" srcOrd="21" destOrd="0" presId="urn:microsoft.com/office/officeart/2008/layout/CircleAccentTimeline"/>
    <dgm:cxn modelId="{39F73706-60DD-4A11-857A-2CEE76A6E203}" type="presParOf" srcId="{1A704293-4A00-4269-9793-84EF60BB46E7}" destId="{C74E053A-3AC0-4730-9A92-0F2249A35D8A}" srcOrd="22" destOrd="0" presId="urn:microsoft.com/office/officeart/2008/layout/CircleAccentTimeline"/>
    <dgm:cxn modelId="{B1FF4F2F-268C-428F-B613-52D77A84D6BD}" type="presParOf" srcId="{1A704293-4A00-4269-9793-84EF60BB46E7}" destId="{42921E3A-CF41-49D9-A8B2-F862DACD1455}" srcOrd="23" destOrd="0" presId="urn:microsoft.com/office/officeart/2008/layout/CircleAccentTimeline"/>
    <dgm:cxn modelId="{AC4EC89F-B285-4312-BD40-90074D84B09F}" type="presParOf" srcId="{42921E3A-CF41-49D9-A8B2-F862DACD1455}" destId="{8DBDFD54-FA06-4E78-B1F9-B5C24B106AA5}" srcOrd="0" destOrd="0" presId="urn:microsoft.com/office/officeart/2008/layout/CircleAccentTimeline"/>
    <dgm:cxn modelId="{6CB17485-6B57-43E8-B843-D405DF37D2AC}" type="presParOf" srcId="{42921E3A-CF41-49D9-A8B2-F862DACD1455}" destId="{EB6A5027-8CC0-4067-8103-7E8095435049}" srcOrd="1" destOrd="0" presId="urn:microsoft.com/office/officeart/2008/layout/CircleAccentTimeline"/>
    <dgm:cxn modelId="{520EF553-A218-4806-A508-1355B694F5AB}" type="presParOf" srcId="{42921E3A-CF41-49D9-A8B2-F862DACD1455}" destId="{B8523729-5ED9-4781-9993-ED44EE714E76}" srcOrd="2" destOrd="0" presId="urn:microsoft.com/office/officeart/2008/layout/CircleAccentTimeline"/>
    <dgm:cxn modelId="{5D7E5FFF-DA18-4D0F-AE9D-7AB10D910FF1}" type="presParOf" srcId="{1A704293-4A00-4269-9793-84EF60BB46E7}" destId="{2157E965-1A58-4647-B54C-41301E78F91D}" srcOrd="24" destOrd="0" presId="urn:microsoft.com/office/officeart/2008/layout/CircleAccentTimeline"/>
    <dgm:cxn modelId="{767DB9C3-85F6-4662-A785-15EF55F7C242}" type="presParOf" srcId="{1A704293-4A00-4269-9793-84EF60BB46E7}" destId="{2CE77E30-7D1E-4313-BA7A-72425E4B9296}" srcOrd="25" destOrd="0" presId="urn:microsoft.com/office/officeart/2008/layout/CircleAccentTimeline"/>
    <dgm:cxn modelId="{67EF9F3E-F1EF-4FDE-89A9-A089EE56B040}" type="presParOf" srcId="{1A704293-4A00-4269-9793-84EF60BB46E7}" destId="{C01DFA6D-43E5-4429-A9B3-E2886C2B08AB}" srcOrd="26" destOrd="0" presId="urn:microsoft.com/office/officeart/2008/layout/CircleAccentTimeline"/>
    <dgm:cxn modelId="{EBDCEF63-2E2C-4E6D-9ED0-5F780E1A22ED}" type="presParOf" srcId="{1A704293-4A00-4269-9793-84EF60BB46E7}" destId="{7679D52D-7B5F-4A0F-9F3A-A6C3FF6AA255}" srcOrd="27" destOrd="0" presId="urn:microsoft.com/office/officeart/2008/layout/CircleAccentTimeline"/>
    <dgm:cxn modelId="{660457BA-A448-42A9-9C04-91C3D99A1F5D}" type="presParOf" srcId="{7679D52D-7B5F-4A0F-9F3A-A6C3FF6AA255}" destId="{98F6187D-F3FF-4676-8B83-7A42AA5EA52A}" srcOrd="0" destOrd="0" presId="urn:microsoft.com/office/officeart/2008/layout/CircleAccentTimeline"/>
    <dgm:cxn modelId="{51ABCD23-8EDD-465F-856E-58026CA835AF}" type="presParOf" srcId="{7679D52D-7B5F-4A0F-9F3A-A6C3FF6AA255}" destId="{BF4020F7-F215-45CC-8770-28C12A152C49}" srcOrd="1" destOrd="0" presId="urn:microsoft.com/office/officeart/2008/layout/CircleAccentTimeline"/>
    <dgm:cxn modelId="{51A5E6C4-FC89-46D4-8897-030BD67A8549}" type="presParOf" srcId="{7679D52D-7B5F-4A0F-9F3A-A6C3FF6AA255}" destId="{9D3D5B97-3DE5-4600-B2D0-2F52A3508BAB}" srcOrd="2" destOrd="0" presId="urn:microsoft.com/office/officeart/2008/layout/CircleAccentTimeline"/>
    <dgm:cxn modelId="{C2ABCBEB-C2E9-4A35-8E84-FDC105873954}" type="presParOf" srcId="{1A704293-4A00-4269-9793-84EF60BB46E7}" destId="{AAA258DE-25B0-4EEC-AE45-3BD52C790DDE}" srcOrd="28" destOrd="0" presId="urn:microsoft.com/office/officeart/2008/layout/CircleAccentTimeline"/>
    <dgm:cxn modelId="{24C9724D-496F-489D-94AE-6E8C74C04B32}" type="presParOf" srcId="{1A704293-4A00-4269-9793-84EF60BB46E7}" destId="{73CBFFD3-6A7B-4D17-8702-83FFF281EEA4}" srcOrd="29" destOrd="0" presId="urn:microsoft.com/office/officeart/2008/layout/CircleAccentTimeline"/>
    <dgm:cxn modelId="{81DEE47A-65C2-4FB8-B6FE-FE7953394CED}" type="presParOf" srcId="{1A704293-4A00-4269-9793-84EF60BB46E7}" destId="{AF334E5A-D793-4FA0-A5C5-0D5AA4768030}" srcOrd="30" destOrd="0" presId="urn:microsoft.com/office/officeart/2008/layout/CircleAccentTimeline"/>
    <dgm:cxn modelId="{2AA8D6FD-04FA-4669-AFD3-E35202B82253}" type="presParOf" srcId="{1A704293-4A00-4269-9793-84EF60BB46E7}" destId="{52773FDC-4772-4F97-BC48-7D43FDF59697}" srcOrd="31" destOrd="0" presId="urn:microsoft.com/office/officeart/2008/layout/CircleAccentTimeline"/>
    <dgm:cxn modelId="{026A08FA-9FCE-4A14-8D41-B927090A7646}" type="presParOf" srcId="{52773FDC-4772-4F97-BC48-7D43FDF59697}" destId="{285EB5AC-902D-472C-844D-916AF60547E4}" srcOrd="0" destOrd="0" presId="urn:microsoft.com/office/officeart/2008/layout/CircleAccentTimeline"/>
    <dgm:cxn modelId="{3D8F8B76-0B19-4061-854C-27F72C749D84}" type="presParOf" srcId="{52773FDC-4772-4F97-BC48-7D43FDF59697}" destId="{8CA68C6F-E3B6-46A7-A9B1-B780AB0310AB}" srcOrd="1" destOrd="0" presId="urn:microsoft.com/office/officeart/2008/layout/CircleAccentTimeline"/>
    <dgm:cxn modelId="{AD4469FA-90EF-49F6-A940-3DC6FB5F1281}" type="presParOf" srcId="{52773FDC-4772-4F97-BC48-7D43FDF59697}" destId="{2BF1D30D-A645-461B-8B53-6D37647F8F3F}" srcOrd="2" destOrd="0" presId="urn:microsoft.com/office/officeart/2008/layout/CircleAccentTimeline"/>
    <dgm:cxn modelId="{22FE05AC-27DF-43E0-8174-46C719C5CFAC}" type="presParOf" srcId="{1A704293-4A00-4269-9793-84EF60BB46E7}" destId="{62DE114B-FE75-4C07-93B2-1FFC0F4EA50E}" srcOrd="32" destOrd="0" presId="urn:microsoft.com/office/officeart/2008/layout/CircleAccentTimeline"/>
    <dgm:cxn modelId="{08199736-E68B-44BA-8707-5B29807B0882}" type="presParOf" srcId="{1A704293-4A00-4269-9793-84EF60BB46E7}" destId="{EACB1369-3186-4D39-944D-48FC110BAFF2}" srcOrd="33" destOrd="0" presId="urn:microsoft.com/office/officeart/2008/layout/CircleAccentTimeline"/>
    <dgm:cxn modelId="{F357B2AC-85DF-482E-8308-3788C05629BD}" type="presParOf" srcId="{1A704293-4A00-4269-9793-84EF60BB46E7}" destId="{514ACA26-0E7A-4799-8323-8E78A018FE1A}" srcOrd="34" destOrd="0" presId="urn:microsoft.com/office/officeart/2008/layout/CircleAccentTimeline"/>
    <dgm:cxn modelId="{0E00A007-26CF-4D33-B383-812049B05970}" type="presParOf" srcId="{1A704293-4A00-4269-9793-84EF60BB46E7}" destId="{5A25D132-820E-44C3-AAA4-0E752E0B8155}" srcOrd="35" destOrd="0" presId="urn:microsoft.com/office/officeart/2008/layout/CircleAccentTimeline"/>
    <dgm:cxn modelId="{0D63BA5D-429D-4168-89D0-C3978BCB49A2}" type="presParOf" srcId="{5A25D132-820E-44C3-AAA4-0E752E0B8155}" destId="{B554C5DC-DEEA-4AE2-942F-B531DCD6A4BC}" srcOrd="0" destOrd="0" presId="urn:microsoft.com/office/officeart/2008/layout/CircleAccentTimeline"/>
    <dgm:cxn modelId="{E0E7744E-8C96-4669-9EC5-B06AB1395984}" type="presParOf" srcId="{5A25D132-820E-44C3-AAA4-0E752E0B8155}" destId="{D0E61BE3-08C2-42D5-B308-61E0BFDF64D4}" srcOrd="1" destOrd="0" presId="urn:microsoft.com/office/officeart/2008/layout/CircleAccentTimeline"/>
    <dgm:cxn modelId="{7FB9267C-51DC-4A87-B8E6-5350A242084D}" type="presParOf" srcId="{5A25D132-820E-44C3-AAA4-0E752E0B8155}" destId="{0B76364A-724C-4D60-B742-8B2007D3D83F}" srcOrd="2" destOrd="0" presId="urn:microsoft.com/office/officeart/2008/layout/CircleAccentTimeline"/>
    <dgm:cxn modelId="{461D8064-2E2B-411A-898F-506040498018}" type="presParOf" srcId="{1A704293-4A00-4269-9793-84EF60BB46E7}" destId="{9F886749-129F-4F94-8FDC-026B682698D1}" srcOrd="36" destOrd="0" presId="urn:microsoft.com/office/officeart/2008/layout/CircleAccentTimeline"/>
    <dgm:cxn modelId="{27ABCAD0-B64D-4766-AA4B-FEEEB37B857E}" type="presParOf" srcId="{1A704293-4A00-4269-9793-84EF60BB46E7}" destId="{AA708E94-3504-4DF0-823F-FB4565134AB9}" srcOrd="37" destOrd="0" presId="urn:microsoft.com/office/officeart/2008/layout/CircleAccentTimeline"/>
    <dgm:cxn modelId="{D0A72F5F-327F-4DEC-A4FB-303A284138FB}" type="presParOf" srcId="{1A704293-4A00-4269-9793-84EF60BB46E7}" destId="{72A47222-7749-4661-A2AF-8C4E7D69F1FD}" srcOrd="38" destOrd="0" presId="urn:microsoft.com/office/officeart/2008/layout/CircleAccentTimeline"/>
    <dgm:cxn modelId="{D9F62BDE-9D76-4127-BEE6-0C6E876995BC}" type="presParOf" srcId="{1A704293-4A00-4269-9793-84EF60BB46E7}" destId="{60290D84-22F4-40D2-838C-4E1970F94875}" srcOrd="39" destOrd="0" presId="urn:microsoft.com/office/officeart/2008/layout/CircleAccentTimeline"/>
    <dgm:cxn modelId="{B7EE67AA-6AC6-48C8-9A87-30ABB44622E3}" type="presParOf" srcId="{60290D84-22F4-40D2-838C-4E1970F94875}" destId="{17B6CC0B-51B2-49F4-99D4-5638832F0DB8}" srcOrd="0" destOrd="0" presId="urn:microsoft.com/office/officeart/2008/layout/CircleAccentTimeline"/>
    <dgm:cxn modelId="{1B178BB6-CC83-4E27-B4ED-0BFED9B7027B}" type="presParOf" srcId="{60290D84-22F4-40D2-838C-4E1970F94875}" destId="{D911B9EF-06FF-4EFF-B38F-46F7111F856E}" srcOrd="1" destOrd="0" presId="urn:microsoft.com/office/officeart/2008/layout/CircleAccentTimeline"/>
    <dgm:cxn modelId="{B41C5D9E-D4E5-49DA-B234-0D87B6F6DC2E}" type="presParOf" srcId="{60290D84-22F4-40D2-838C-4E1970F94875}" destId="{9F22E223-C03C-4A17-985E-B8945A116FFF}" srcOrd="2" destOrd="0" presId="urn:microsoft.com/office/officeart/2008/layout/CircleAccentTimeline"/>
    <dgm:cxn modelId="{B02758A0-4DBC-469F-9168-0BACB0DDCD5F}" type="presParOf" srcId="{1A704293-4A00-4269-9793-84EF60BB46E7}" destId="{98EB0A87-90C1-4AE9-8C2B-E508EB9E09A0}" srcOrd="40" destOrd="0" presId="urn:microsoft.com/office/officeart/2008/layout/CircleAccentTimeline"/>
    <dgm:cxn modelId="{85376B37-4052-46C4-8F58-BB135EE2C88E}" type="presParOf" srcId="{1A704293-4A00-4269-9793-84EF60BB46E7}" destId="{6785AC24-B12F-4FBA-A2E1-E2791399D68A}" srcOrd="41" destOrd="0" presId="urn:microsoft.com/office/officeart/2008/layout/CircleAccentTimeline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22C8004B-A441-4F06-B14F-E6072A253398}" type="doc">
      <dgm:prSet loTypeId="urn:microsoft.com/office/officeart/2005/8/layout/chevron1" loCatId="process" qsTypeId="urn:microsoft.com/office/officeart/2005/8/quickstyle/simple1" qsCatId="simple" csTypeId="urn:microsoft.com/office/officeart/2005/8/colors/accent6_5" csCatId="accent6" phldr="1"/>
      <dgm:spPr/>
    </dgm:pt>
    <dgm:pt modelId="{A5C9D6BD-7705-41D0-896B-39382DEF9DA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2017</a:t>
          </a:r>
          <a:endParaRPr lang="pt-BR" dirty="0">
            <a:latin typeface="Simplon BP Regular" pitchFamily="2" charset="0"/>
          </a:endParaRPr>
        </a:p>
      </dgm:t>
    </dgm:pt>
    <dgm:pt modelId="{04DBB520-D8EC-410B-A08F-9E574DD82296}" type="parTrans" cxnId="{1BCF78A4-203A-42A6-8641-0E8362FD9E45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F28B3D7F-DFCE-4E77-8F1C-7B042500BAEF}" type="sibTrans" cxnId="{1BCF78A4-203A-42A6-8641-0E8362FD9E45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CC6DE7D9-FFFB-4048-A63C-05CB70202A8D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2018</a:t>
          </a:r>
          <a:endParaRPr lang="pt-BR" dirty="0">
            <a:latin typeface="Simplon BP Regular" pitchFamily="2" charset="0"/>
          </a:endParaRPr>
        </a:p>
      </dgm:t>
    </dgm:pt>
    <dgm:pt modelId="{00571E69-0253-4D2C-8C3E-A4B850FAE6D3}" type="parTrans" cxnId="{BFE63539-22DE-4975-9F2B-B16967A9B79A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87372C84-E1D2-46B0-A14E-6954F848ADF5}" type="sibTrans" cxnId="{BFE63539-22DE-4975-9F2B-B16967A9B79A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3014A0A9-B888-44B6-87FD-3FA34B8C82C9}" type="pres">
      <dgm:prSet presAssocID="{22C8004B-A441-4F06-B14F-E6072A253398}" presName="Name0" presStyleCnt="0">
        <dgm:presLayoutVars>
          <dgm:dir/>
          <dgm:animLvl val="lvl"/>
          <dgm:resizeHandles val="exact"/>
        </dgm:presLayoutVars>
      </dgm:prSet>
      <dgm:spPr/>
    </dgm:pt>
    <dgm:pt modelId="{186D22AC-C516-4D8C-AE22-0C650918D950}" type="pres">
      <dgm:prSet presAssocID="{A5C9D6BD-7705-41D0-896B-39382DEF9DAB}" presName="parTxOnly" presStyleLbl="node1" presStyleIdx="0" presStyleCnt="2" custScaleX="198501" custLinFactNeighborY="273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7E3C63A-3CC1-478C-B991-43B301263277}" type="pres">
      <dgm:prSet presAssocID="{F28B3D7F-DFCE-4E77-8F1C-7B042500BAEF}" presName="parTxOnlySpace" presStyleCnt="0"/>
      <dgm:spPr/>
    </dgm:pt>
    <dgm:pt modelId="{0550EBE2-3CC1-4770-9B02-DDFB5E793DEB}" type="pres">
      <dgm:prSet presAssocID="{CC6DE7D9-FFFB-4048-A63C-05CB70202A8D}" presName="parTxOnly" presStyleLbl="node1" presStyleIdx="1" presStyleCnt="2" custScaleX="109901" custLinFactNeighborY="312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1BCF78A4-203A-42A6-8641-0E8362FD9E45}" srcId="{22C8004B-A441-4F06-B14F-E6072A253398}" destId="{A5C9D6BD-7705-41D0-896B-39382DEF9DAB}" srcOrd="0" destOrd="0" parTransId="{04DBB520-D8EC-410B-A08F-9E574DD82296}" sibTransId="{F28B3D7F-DFCE-4E77-8F1C-7B042500BAEF}"/>
    <dgm:cxn modelId="{15071D42-E771-43B3-90CA-52E039951A2C}" type="presOf" srcId="{22C8004B-A441-4F06-B14F-E6072A253398}" destId="{3014A0A9-B888-44B6-87FD-3FA34B8C82C9}" srcOrd="0" destOrd="0" presId="urn:microsoft.com/office/officeart/2005/8/layout/chevron1"/>
    <dgm:cxn modelId="{BB12B810-0FDF-4639-8886-DCC27B85D722}" type="presOf" srcId="{A5C9D6BD-7705-41D0-896B-39382DEF9DAB}" destId="{186D22AC-C516-4D8C-AE22-0C650918D950}" srcOrd="0" destOrd="0" presId="urn:microsoft.com/office/officeart/2005/8/layout/chevron1"/>
    <dgm:cxn modelId="{BFE63539-22DE-4975-9F2B-B16967A9B79A}" srcId="{22C8004B-A441-4F06-B14F-E6072A253398}" destId="{CC6DE7D9-FFFB-4048-A63C-05CB70202A8D}" srcOrd="1" destOrd="0" parTransId="{00571E69-0253-4D2C-8C3E-A4B850FAE6D3}" sibTransId="{87372C84-E1D2-46B0-A14E-6954F848ADF5}"/>
    <dgm:cxn modelId="{5513242F-4043-4F30-923D-4B1DD508EAB2}" type="presOf" srcId="{CC6DE7D9-FFFB-4048-A63C-05CB70202A8D}" destId="{0550EBE2-3CC1-4770-9B02-DDFB5E793DEB}" srcOrd="0" destOrd="0" presId="urn:microsoft.com/office/officeart/2005/8/layout/chevron1"/>
    <dgm:cxn modelId="{184402FF-39D7-491F-B997-6647F2B52E47}" type="presParOf" srcId="{3014A0A9-B888-44B6-87FD-3FA34B8C82C9}" destId="{186D22AC-C516-4D8C-AE22-0C650918D950}" srcOrd="0" destOrd="0" presId="urn:microsoft.com/office/officeart/2005/8/layout/chevron1"/>
    <dgm:cxn modelId="{DFD2518F-E5AD-46CD-AB35-29A755AC58F8}" type="presParOf" srcId="{3014A0A9-B888-44B6-87FD-3FA34B8C82C9}" destId="{47E3C63A-3CC1-478C-B991-43B301263277}" srcOrd="1" destOrd="0" presId="urn:microsoft.com/office/officeart/2005/8/layout/chevron1"/>
    <dgm:cxn modelId="{E88FAAD9-F38F-4CCC-906E-75C6AA91F97D}" type="presParOf" srcId="{3014A0A9-B888-44B6-87FD-3FA34B8C82C9}" destId="{0550EBE2-3CC1-4770-9B02-DDFB5E793DEB}" srcOrd="2" destOrd="0" presId="urn:microsoft.com/office/officeart/2005/8/layout/chevron1"/>
  </dgm:cxnLst>
  <dgm:bg>
    <a:noFill/>
  </dgm:bg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22C8004B-A441-4F06-B14F-E6072A253398}" type="doc">
      <dgm:prSet loTypeId="urn:microsoft.com/office/officeart/2005/8/layout/chevron1" loCatId="process" qsTypeId="urn:microsoft.com/office/officeart/2005/8/quickstyle/simple1" qsCatId="simple" csTypeId="urn:microsoft.com/office/officeart/2005/8/colors/accent6_5" csCatId="accent6" phldr="1"/>
      <dgm:spPr/>
    </dgm:pt>
    <dgm:pt modelId="{A5C9D6BD-7705-41D0-896B-39382DEF9DA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Segunda-feira</a:t>
          </a:r>
          <a:endParaRPr lang="pt-BR" dirty="0">
            <a:latin typeface="Simplon BP Regular" pitchFamily="2" charset="0"/>
          </a:endParaRPr>
        </a:p>
      </dgm:t>
    </dgm:pt>
    <dgm:pt modelId="{04DBB520-D8EC-410B-A08F-9E574DD82296}" type="parTrans" cxnId="{1BCF78A4-203A-42A6-8641-0E8362FD9E45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F28B3D7F-DFCE-4E77-8F1C-7B042500BAEF}" type="sibTrans" cxnId="{1BCF78A4-203A-42A6-8641-0E8362FD9E45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CC6DE7D9-FFFB-4048-A63C-05CB70202A8D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Terça-feira</a:t>
          </a:r>
          <a:endParaRPr lang="pt-BR" dirty="0">
            <a:latin typeface="Simplon BP Regular" pitchFamily="2" charset="0"/>
          </a:endParaRPr>
        </a:p>
      </dgm:t>
    </dgm:pt>
    <dgm:pt modelId="{00571E69-0253-4D2C-8C3E-A4B850FAE6D3}" type="parTrans" cxnId="{BFE63539-22DE-4975-9F2B-B16967A9B79A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87372C84-E1D2-46B0-A14E-6954F848ADF5}" type="sibTrans" cxnId="{BFE63539-22DE-4975-9F2B-B16967A9B79A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FED77968-F6F6-44B9-888E-4C6443DE623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Quarta-feira</a:t>
          </a:r>
          <a:endParaRPr lang="pt-BR" dirty="0">
            <a:latin typeface="Simplon BP Regular" pitchFamily="2" charset="0"/>
          </a:endParaRPr>
        </a:p>
      </dgm:t>
    </dgm:pt>
    <dgm:pt modelId="{318B851A-44D3-4617-B2B7-40A6C105B801}" type="parTrans" cxnId="{63B39803-BA24-4540-BB74-3538F3085311}">
      <dgm:prSet/>
      <dgm:spPr/>
      <dgm:t>
        <a:bodyPr/>
        <a:lstStyle/>
        <a:p>
          <a:endParaRPr lang="pt-BR"/>
        </a:p>
      </dgm:t>
    </dgm:pt>
    <dgm:pt modelId="{E099D18C-8A71-4CE6-9B2D-25DA858AF327}" type="sibTrans" cxnId="{63B39803-BA24-4540-BB74-3538F3085311}">
      <dgm:prSet/>
      <dgm:spPr/>
      <dgm:t>
        <a:bodyPr/>
        <a:lstStyle/>
        <a:p>
          <a:endParaRPr lang="pt-BR"/>
        </a:p>
      </dgm:t>
    </dgm:pt>
    <dgm:pt modelId="{64F72A13-369A-4017-812E-520789887620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Quinta-feira</a:t>
          </a:r>
          <a:endParaRPr lang="pt-BR" dirty="0">
            <a:latin typeface="Simplon BP Regular" pitchFamily="2" charset="0"/>
          </a:endParaRPr>
        </a:p>
      </dgm:t>
    </dgm:pt>
    <dgm:pt modelId="{F8C33EC0-9F06-4516-AC18-BDF387993CC1}" type="parTrans" cxnId="{EC66AAC1-BAF2-4C66-A9AB-D88D94CC8577}">
      <dgm:prSet/>
      <dgm:spPr/>
      <dgm:t>
        <a:bodyPr/>
        <a:lstStyle/>
        <a:p>
          <a:endParaRPr lang="pt-BR"/>
        </a:p>
      </dgm:t>
    </dgm:pt>
    <dgm:pt modelId="{830AA4E2-EF09-45F7-BB27-EDDE45E7920F}" type="sibTrans" cxnId="{EC66AAC1-BAF2-4C66-A9AB-D88D94CC8577}">
      <dgm:prSet/>
      <dgm:spPr/>
      <dgm:t>
        <a:bodyPr/>
        <a:lstStyle/>
        <a:p>
          <a:endParaRPr lang="pt-BR"/>
        </a:p>
      </dgm:t>
    </dgm:pt>
    <dgm:pt modelId="{F7A2B4F1-53D7-478C-973A-73C8D7EF8509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Sexta-feira</a:t>
          </a:r>
          <a:endParaRPr lang="pt-BR" dirty="0">
            <a:latin typeface="Simplon BP Regular" pitchFamily="2" charset="0"/>
          </a:endParaRPr>
        </a:p>
      </dgm:t>
    </dgm:pt>
    <dgm:pt modelId="{294B3C07-C4E3-4C3D-A038-B82A8EBA1F3F}" type="parTrans" cxnId="{F95CE164-7801-4CBD-8E83-E826265F172F}">
      <dgm:prSet/>
      <dgm:spPr/>
      <dgm:t>
        <a:bodyPr/>
        <a:lstStyle/>
        <a:p>
          <a:endParaRPr lang="pt-BR"/>
        </a:p>
      </dgm:t>
    </dgm:pt>
    <dgm:pt modelId="{2BA11EE1-A823-4583-A967-FA617565361B}" type="sibTrans" cxnId="{F95CE164-7801-4CBD-8E83-E826265F172F}">
      <dgm:prSet/>
      <dgm:spPr/>
      <dgm:t>
        <a:bodyPr/>
        <a:lstStyle/>
        <a:p>
          <a:endParaRPr lang="pt-BR"/>
        </a:p>
      </dgm:t>
    </dgm:pt>
    <dgm:pt modelId="{3014A0A9-B888-44B6-87FD-3FA34B8C82C9}" type="pres">
      <dgm:prSet presAssocID="{22C8004B-A441-4F06-B14F-E6072A253398}" presName="Name0" presStyleCnt="0">
        <dgm:presLayoutVars>
          <dgm:dir/>
          <dgm:animLvl val="lvl"/>
          <dgm:resizeHandles val="exact"/>
        </dgm:presLayoutVars>
      </dgm:prSet>
      <dgm:spPr/>
    </dgm:pt>
    <dgm:pt modelId="{186D22AC-C516-4D8C-AE22-0C650918D950}" type="pres">
      <dgm:prSet presAssocID="{A5C9D6BD-7705-41D0-896B-39382DEF9DAB}" presName="parTxOnly" presStyleLbl="node1" presStyleIdx="0" presStyleCnt="5" custScaleX="110110" custLinFactNeighborY="8819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7E3C63A-3CC1-478C-B991-43B301263277}" type="pres">
      <dgm:prSet presAssocID="{F28B3D7F-DFCE-4E77-8F1C-7B042500BAEF}" presName="parTxOnlySpace" presStyleCnt="0"/>
      <dgm:spPr/>
    </dgm:pt>
    <dgm:pt modelId="{0550EBE2-3CC1-4770-9B02-DDFB5E793DEB}" type="pres">
      <dgm:prSet presAssocID="{CC6DE7D9-FFFB-4048-A63C-05CB70202A8D}" presName="parTxOnly" presStyleLbl="node1" presStyleIdx="1" presStyleCnt="5" custScaleX="109901" custLinFactNeighborY="312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F74FCDA3-7548-4E1D-B303-B0E816C39017}" type="pres">
      <dgm:prSet presAssocID="{87372C84-E1D2-46B0-A14E-6954F848ADF5}" presName="parTxOnlySpace" presStyleCnt="0"/>
      <dgm:spPr/>
    </dgm:pt>
    <dgm:pt modelId="{4B9CD59A-2F66-4026-8766-3B087A0BF111}" type="pres">
      <dgm:prSet presAssocID="{FED77968-F6F6-44B9-888E-4C6443DE623B}" presName="parTxOnly" presStyleLbl="node1" presStyleIdx="2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A0AB805B-C3F3-43BE-A6AC-1DE8E7971A35}" type="pres">
      <dgm:prSet presAssocID="{E099D18C-8A71-4CE6-9B2D-25DA858AF327}" presName="parTxOnlySpace" presStyleCnt="0"/>
      <dgm:spPr/>
    </dgm:pt>
    <dgm:pt modelId="{6BF36520-8AA0-4A43-B331-55C5B7C98C9D}" type="pres">
      <dgm:prSet presAssocID="{64F72A13-369A-4017-812E-520789887620}" presName="parTxOnly" presStyleLbl="node1" presStyleIdx="3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1C57F5BD-794C-4CFA-8261-B6E92A6A5BC2}" type="pres">
      <dgm:prSet presAssocID="{830AA4E2-EF09-45F7-BB27-EDDE45E7920F}" presName="parTxOnlySpace" presStyleCnt="0"/>
      <dgm:spPr/>
    </dgm:pt>
    <dgm:pt modelId="{CFE7FB2D-5E44-4218-85AD-E011C5731AF4}" type="pres">
      <dgm:prSet presAssocID="{F7A2B4F1-53D7-478C-973A-73C8D7EF8509}" presName="parTxOnly" presStyleLbl="node1" presStyleIdx="4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F95CE164-7801-4CBD-8E83-E826265F172F}" srcId="{22C8004B-A441-4F06-B14F-E6072A253398}" destId="{F7A2B4F1-53D7-478C-973A-73C8D7EF8509}" srcOrd="4" destOrd="0" parTransId="{294B3C07-C4E3-4C3D-A038-B82A8EBA1F3F}" sibTransId="{2BA11EE1-A823-4583-A967-FA617565361B}"/>
    <dgm:cxn modelId="{EC66AAC1-BAF2-4C66-A9AB-D88D94CC8577}" srcId="{22C8004B-A441-4F06-B14F-E6072A253398}" destId="{64F72A13-369A-4017-812E-520789887620}" srcOrd="3" destOrd="0" parTransId="{F8C33EC0-9F06-4516-AC18-BDF387993CC1}" sibTransId="{830AA4E2-EF09-45F7-BB27-EDDE45E7920F}"/>
    <dgm:cxn modelId="{63B39803-BA24-4540-BB74-3538F3085311}" srcId="{22C8004B-A441-4F06-B14F-E6072A253398}" destId="{FED77968-F6F6-44B9-888E-4C6443DE623B}" srcOrd="2" destOrd="0" parTransId="{318B851A-44D3-4617-B2B7-40A6C105B801}" sibTransId="{E099D18C-8A71-4CE6-9B2D-25DA858AF327}"/>
    <dgm:cxn modelId="{DA09F971-6DC2-4489-9108-70E8564087CF}" type="presOf" srcId="{FED77968-F6F6-44B9-888E-4C6443DE623B}" destId="{4B9CD59A-2F66-4026-8766-3B087A0BF111}" srcOrd="0" destOrd="0" presId="urn:microsoft.com/office/officeart/2005/8/layout/chevron1"/>
    <dgm:cxn modelId="{A7226803-F161-4AB3-BDC5-3A181B61646E}" type="presOf" srcId="{22C8004B-A441-4F06-B14F-E6072A253398}" destId="{3014A0A9-B888-44B6-87FD-3FA34B8C82C9}" srcOrd="0" destOrd="0" presId="urn:microsoft.com/office/officeart/2005/8/layout/chevron1"/>
    <dgm:cxn modelId="{88E55FA3-27C4-4178-A85C-08054FBE605C}" type="presOf" srcId="{64F72A13-369A-4017-812E-520789887620}" destId="{6BF36520-8AA0-4A43-B331-55C5B7C98C9D}" srcOrd="0" destOrd="0" presId="urn:microsoft.com/office/officeart/2005/8/layout/chevron1"/>
    <dgm:cxn modelId="{78913621-BCFB-4FEC-B8F7-BF27693EC26B}" type="presOf" srcId="{F7A2B4F1-53D7-478C-973A-73C8D7EF8509}" destId="{CFE7FB2D-5E44-4218-85AD-E011C5731AF4}" srcOrd="0" destOrd="0" presId="urn:microsoft.com/office/officeart/2005/8/layout/chevron1"/>
    <dgm:cxn modelId="{1BCF78A4-203A-42A6-8641-0E8362FD9E45}" srcId="{22C8004B-A441-4F06-B14F-E6072A253398}" destId="{A5C9D6BD-7705-41D0-896B-39382DEF9DAB}" srcOrd="0" destOrd="0" parTransId="{04DBB520-D8EC-410B-A08F-9E574DD82296}" sibTransId="{F28B3D7F-DFCE-4E77-8F1C-7B042500BAEF}"/>
    <dgm:cxn modelId="{1BB4B5BE-5CA9-4318-BBF4-1EEF6761FE33}" type="presOf" srcId="{CC6DE7D9-FFFB-4048-A63C-05CB70202A8D}" destId="{0550EBE2-3CC1-4770-9B02-DDFB5E793DEB}" srcOrd="0" destOrd="0" presId="urn:microsoft.com/office/officeart/2005/8/layout/chevron1"/>
    <dgm:cxn modelId="{BFE63539-22DE-4975-9F2B-B16967A9B79A}" srcId="{22C8004B-A441-4F06-B14F-E6072A253398}" destId="{CC6DE7D9-FFFB-4048-A63C-05CB70202A8D}" srcOrd="1" destOrd="0" parTransId="{00571E69-0253-4D2C-8C3E-A4B850FAE6D3}" sibTransId="{87372C84-E1D2-46B0-A14E-6954F848ADF5}"/>
    <dgm:cxn modelId="{9056CBB0-A409-4DCE-8AFD-3D41B66CD3ED}" type="presOf" srcId="{A5C9D6BD-7705-41D0-896B-39382DEF9DAB}" destId="{186D22AC-C516-4D8C-AE22-0C650918D950}" srcOrd="0" destOrd="0" presId="urn:microsoft.com/office/officeart/2005/8/layout/chevron1"/>
    <dgm:cxn modelId="{77970E76-3CB5-49A2-A6E9-FB1E33FD8A54}" type="presParOf" srcId="{3014A0A9-B888-44B6-87FD-3FA34B8C82C9}" destId="{186D22AC-C516-4D8C-AE22-0C650918D950}" srcOrd="0" destOrd="0" presId="urn:microsoft.com/office/officeart/2005/8/layout/chevron1"/>
    <dgm:cxn modelId="{72E76B2F-A2E4-4A2F-972A-26185F5EAEC5}" type="presParOf" srcId="{3014A0A9-B888-44B6-87FD-3FA34B8C82C9}" destId="{47E3C63A-3CC1-478C-B991-43B301263277}" srcOrd="1" destOrd="0" presId="urn:microsoft.com/office/officeart/2005/8/layout/chevron1"/>
    <dgm:cxn modelId="{BA682D89-0269-47B6-A0C3-56A0FD6D08A7}" type="presParOf" srcId="{3014A0A9-B888-44B6-87FD-3FA34B8C82C9}" destId="{0550EBE2-3CC1-4770-9B02-DDFB5E793DEB}" srcOrd="2" destOrd="0" presId="urn:microsoft.com/office/officeart/2005/8/layout/chevron1"/>
    <dgm:cxn modelId="{E80D07F1-05D6-4503-9EF2-F9DF0D5EFC60}" type="presParOf" srcId="{3014A0A9-B888-44B6-87FD-3FA34B8C82C9}" destId="{F74FCDA3-7548-4E1D-B303-B0E816C39017}" srcOrd="3" destOrd="0" presId="urn:microsoft.com/office/officeart/2005/8/layout/chevron1"/>
    <dgm:cxn modelId="{52B5855E-1E8D-481B-BFCA-9212145D9612}" type="presParOf" srcId="{3014A0A9-B888-44B6-87FD-3FA34B8C82C9}" destId="{4B9CD59A-2F66-4026-8766-3B087A0BF111}" srcOrd="4" destOrd="0" presId="urn:microsoft.com/office/officeart/2005/8/layout/chevron1"/>
    <dgm:cxn modelId="{3BAD5456-E2EB-43BD-9C7D-A6AB4A888AD6}" type="presParOf" srcId="{3014A0A9-B888-44B6-87FD-3FA34B8C82C9}" destId="{A0AB805B-C3F3-43BE-A6AC-1DE8E7971A35}" srcOrd="5" destOrd="0" presId="urn:microsoft.com/office/officeart/2005/8/layout/chevron1"/>
    <dgm:cxn modelId="{36F0190B-3018-498C-AD4A-A07C40AC3D80}" type="presParOf" srcId="{3014A0A9-B888-44B6-87FD-3FA34B8C82C9}" destId="{6BF36520-8AA0-4A43-B331-55C5B7C98C9D}" srcOrd="6" destOrd="0" presId="urn:microsoft.com/office/officeart/2005/8/layout/chevron1"/>
    <dgm:cxn modelId="{5D835A13-25DC-44B8-BB36-5B3C376F2918}" type="presParOf" srcId="{3014A0A9-B888-44B6-87FD-3FA34B8C82C9}" destId="{1C57F5BD-794C-4CFA-8261-B6E92A6A5BC2}" srcOrd="7" destOrd="0" presId="urn:microsoft.com/office/officeart/2005/8/layout/chevron1"/>
    <dgm:cxn modelId="{3724030E-D87D-4632-8604-122BCF28AA24}" type="presParOf" srcId="{3014A0A9-B888-44B6-87FD-3FA34B8C82C9}" destId="{CFE7FB2D-5E44-4218-85AD-E011C5731AF4}" srcOrd="8" destOrd="0" presId="urn:microsoft.com/office/officeart/2005/8/layout/chevron1"/>
  </dgm:cxnLst>
  <dgm:bg>
    <a:noFill/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22C8004B-A441-4F06-B14F-E6072A253398}" type="doc">
      <dgm:prSet loTypeId="urn:microsoft.com/office/officeart/2005/8/layout/chevron1" loCatId="process" qsTypeId="urn:microsoft.com/office/officeart/2005/8/quickstyle/simple1" qsCatId="simple" csTypeId="urn:microsoft.com/office/officeart/2005/8/colors/accent6_5" csCatId="accent6" phldr="1"/>
      <dgm:spPr/>
    </dgm:pt>
    <dgm:pt modelId="{A5C9D6BD-7705-41D0-896B-39382DEF9DA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Setup infra e SW base</a:t>
          </a:r>
          <a:endParaRPr lang="pt-BR" dirty="0">
            <a:latin typeface="Simplon BP Regular" pitchFamily="2" charset="0"/>
          </a:endParaRPr>
        </a:p>
      </dgm:t>
    </dgm:pt>
    <dgm:pt modelId="{04DBB520-D8EC-410B-A08F-9E574DD82296}" type="parTrans" cxnId="{1BCF78A4-203A-42A6-8641-0E8362FD9E45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F28B3D7F-DFCE-4E77-8F1C-7B042500BAEF}" type="sibTrans" cxnId="{1BCF78A4-203A-42A6-8641-0E8362FD9E45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CC6DE7D9-FFFB-4048-A63C-05CB70202A8D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Liberação de acessos </a:t>
          </a:r>
          <a:r>
            <a:rPr lang="pt-BR" dirty="0" err="1" smtClean="0">
              <a:latin typeface="Simplon BP Regular" pitchFamily="2" charset="0"/>
            </a:rPr>
            <a:t>SegInf</a:t>
          </a:r>
          <a:endParaRPr lang="pt-BR" dirty="0">
            <a:latin typeface="Simplon BP Regular" pitchFamily="2" charset="0"/>
          </a:endParaRPr>
        </a:p>
      </dgm:t>
    </dgm:pt>
    <dgm:pt modelId="{00571E69-0253-4D2C-8C3E-A4B850FAE6D3}" type="parTrans" cxnId="{BFE63539-22DE-4975-9F2B-B16967A9B79A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87372C84-E1D2-46B0-A14E-6954F848ADF5}" type="sibTrans" cxnId="{BFE63539-22DE-4975-9F2B-B16967A9B79A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FED77968-F6F6-44B9-888E-4C6443DE623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Instalação </a:t>
          </a:r>
          <a:r>
            <a:rPr lang="pt-BR" dirty="0" err="1" smtClean="0">
              <a:latin typeface="Simplon BP Regular" pitchFamily="2" charset="0"/>
            </a:rPr>
            <a:t>Vanila</a:t>
          </a:r>
          <a:r>
            <a:rPr lang="pt-BR" dirty="0" smtClean="0">
              <a:latin typeface="Simplon BP Regular" pitchFamily="2" charset="0"/>
            </a:rPr>
            <a:t> RAID-FMS</a:t>
          </a:r>
          <a:endParaRPr lang="pt-BR" dirty="0">
            <a:latin typeface="Simplon BP Regular" pitchFamily="2" charset="0"/>
          </a:endParaRPr>
        </a:p>
      </dgm:t>
    </dgm:pt>
    <dgm:pt modelId="{318B851A-44D3-4617-B2B7-40A6C105B801}" type="parTrans" cxnId="{63B39803-BA24-4540-BB74-3538F3085311}">
      <dgm:prSet/>
      <dgm:spPr/>
      <dgm:t>
        <a:bodyPr/>
        <a:lstStyle/>
        <a:p>
          <a:endParaRPr lang="pt-BR"/>
        </a:p>
      </dgm:t>
    </dgm:pt>
    <dgm:pt modelId="{E099D18C-8A71-4CE6-9B2D-25DA858AF327}" type="sibTrans" cxnId="{63B39803-BA24-4540-BB74-3538F3085311}">
      <dgm:prSet/>
      <dgm:spPr/>
      <dgm:t>
        <a:bodyPr/>
        <a:lstStyle/>
        <a:p>
          <a:endParaRPr lang="pt-BR"/>
        </a:p>
      </dgm:t>
    </dgm:pt>
    <dgm:pt modelId="{64F72A13-369A-4017-812E-520789887620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Planejamento </a:t>
          </a:r>
          <a:r>
            <a:rPr lang="pt-BR" dirty="0" err="1" smtClean="0">
              <a:latin typeface="Simplon BP Regular" pitchFamily="2" charset="0"/>
            </a:rPr>
            <a:t>scoping</a:t>
          </a:r>
          <a:r>
            <a:rPr lang="pt-BR" dirty="0" smtClean="0">
              <a:latin typeface="Simplon BP Regular" pitchFamily="2" charset="0"/>
            </a:rPr>
            <a:t> de ondas</a:t>
          </a:r>
          <a:endParaRPr lang="pt-BR" dirty="0">
            <a:latin typeface="Simplon BP Regular" pitchFamily="2" charset="0"/>
          </a:endParaRPr>
        </a:p>
      </dgm:t>
    </dgm:pt>
    <dgm:pt modelId="{F8C33EC0-9F06-4516-AC18-BDF387993CC1}" type="parTrans" cxnId="{EC66AAC1-BAF2-4C66-A9AB-D88D94CC8577}">
      <dgm:prSet/>
      <dgm:spPr/>
      <dgm:t>
        <a:bodyPr/>
        <a:lstStyle/>
        <a:p>
          <a:endParaRPr lang="pt-BR"/>
        </a:p>
      </dgm:t>
    </dgm:pt>
    <dgm:pt modelId="{830AA4E2-EF09-45F7-BB27-EDDE45E7920F}" type="sibTrans" cxnId="{EC66AAC1-BAF2-4C66-A9AB-D88D94CC8577}">
      <dgm:prSet/>
      <dgm:spPr/>
      <dgm:t>
        <a:bodyPr/>
        <a:lstStyle/>
        <a:p>
          <a:endParaRPr lang="pt-BR"/>
        </a:p>
      </dgm:t>
    </dgm:pt>
    <dgm:pt modelId="{3014A0A9-B888-44B6-87FD-3FA34B8C82C9}" type="pres">
      <dgm:prSet presAssocID="{22C8004B-A441-4F06-B14F-E6072A253398}" presName="Name0" presStyleCnt="0">
        <dgm:presLayoutVars>
          <dgm:dir/>
          <dgm:animLvl val="lvl"/>
          <dgm:resizeHandles val="exact"/>
        </dgm:presLayoutVars>
      </dgm:prSet>
      <dgm:spPr/>
    </dgm:pt>
    <dgm:pt modelId="{186D22AC-C516-4D8C-AE22-0C650918D950}" type="pres">
      <dgm:prSet presAssocID="{A5C9D6BD-7705-41D0-896B-39382DEF9DAB}" presName="parTxOnly" presStyleLbl="node1" presStyleIdx="0" presStyleCnt="4" custScaleX="175611" custLinFactNeighborY="8819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7E3C63A-3CC1-478C-B991-43B301263277}" type="pres">
      <dgm:prSet presAssocID="{F28B3D7F-DFCE-4E77-8F1C-7B042500BAEF}" presName="parTxOnlySpace" presStyleCnt="0"/>
      <dgm:spPr/>
    </dgm:pt>
    <dgm:pt modelId="{0550EBE2-3CC1-4770-9B02-DDFB5E793DEB}" type="pres">
      <dgm:prSet presAssocID="{CC6DE7D9-FFFB-4048-A63C-05CB70202A8D}" presName="parTxOnly" presStyleLbl="node1" presStyleIdx="1" presStyleCnt="4" custScaleX="109901" custLinFactNeighborY="312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F74FCDA3-7548-4E1D-B303-B0E816C39017}" type="pres">
      <dgm:prSet presAssocID="{87372C84-E1D2-46B0-A14E-6954F848ADF5}" presName="parTxOnlySpace" presStyleCnt="0"/>
      <dgm:spPr/>
    </dgm:pt>
    <dgm:pt modelId="{4B9CD59A-2F66-4026-8766-3B087A0BF111}" type="pres">
      <dgm:prSet presAssocID="{FED77968-F6F6-44B9-888E-4C6443DE623B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A0AB805B-C3F3-43BE-A6AC-1DE8E7971A35}" type="pres">
      <dgm:prSet presAssocID="{E099D18C-8A71-4CE6-9B2D-25DA858AF327}" presName="parTxOnlySpace" presStyleCnt="0"/>
      <dgm:spPr/>
    </dgm:pt>
    <dgm:pt modelId="{6BF36520-8AA0-4A43-B331-55C5B7C98C9D}" type="pres">
      <dgm:prSet presAssocID="{64F72A13-369A-4017-812E-520789887620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1BCF78A4-203A-42A6-8641-0E8362FD9E45}" srcId="{22C8004B-A441-4F06-B14F-E6072A253398}" destId="{A5C9D6BD-7705-41D0-896B-39382DEF9DAB}" srcOrd="0" destOrd="0" parTransId="{04DBB520-D8EC-410B-A08F-9E574DD82296}" sibTransId="{F28B3D7F-DFCE-4E77-8F1C-7B042500BAEF}"/>
    <dgm:cxn modelId="{EC66AAC1-BAF2-4C66-A9AB-D88D94CC8577}" srcId="{22C8004B-A441-4F06-B14F-E6072A253398}" destId="{64F72A13-369A-4017-812E-520789887620}" srcOrd="3" destOrd="0" parTransId="{F8C33EC0-9F06-4516-AC18-BDF387993CC1}" sibTransId="{830AA4E2-EF09-45F7-BB27-EDDE45E7920F}"/>
    <dgm:cxn modelId="{2058290B-31B5-4671-916F-AB2B0626B0FF}" type="presOf" srcId="{FED77968-F6F6-44B9-888E-4C6443DE623B}" destId="{4B9CD59A-2F66-4026-8766-3B087A0BF111}" srcOrd="0" destOrd="0" presId="urn:microsoft.com/office/officeart/2005/8/layout/chevron1"/>
    <dgm:cxn modelId="{317F973B-25D7-4F19-B152-4773FD466B93}" type="presOf" srcId="{CC6DE7D9-FFFB-4048-A63C-05CB70202A8D}" destId="{0550EBE2-3CC1-4770-9B02-DDFB5E793DEB}" srcOrd="0" destOrd="0" presId="urn:microsoft.com/office/officeart/2005/8/layout/chevron1"/>
    <dgm:cxn modelId="{63B39803-BA24-4540-BB74-3538F3085311}" srcId="{22C8004B-A441-4F06-B14F-E6072A253398}" destId="{FED77968-F6F6-44B9-888E-4C6443DE623B}" srcOrd="2" destOrd="0" parTransId="{318B851A-44D3-4617-B2B7-40A6C105B801}" sibTransId="{E099D18C-8A71-4CE6-9B2D-25DA858AF327}"/>
    <dgm:cxn modelId="{22B4ACC2-D71A-4B43-BC68-4FF73F07CF94}" type="presOf" srcId="{64F72A13-369A-4017-812E-520789887620}" destId="{6BF36520-8AA0-4A43-B331-55C5B7C98C9D}" srcOrd="0" destOrd="0" presId="urn:microsoft.com/office/officeart/2005/8/layout/chevron1"/>
    <dgm:cxn modelId="{E3F6B98F-4F66-4998-9A84-5F9B597767D7}" type="presOf" srcId="{A5C9D6BD-7705-41D0-896B-39382DEF9DAB}" destId="{186D22AC-C516-4D8C-AE22-0C650918D950}" srcOrd="0" destOrd="0" presId="urn:microsoft.com/office/officeart/2005/8/layout/chevron1"/>
    <dgm:cxn modelId="{7A7AF68B-F22B-4608-AB6B-9DF519D1403A}" type="presOf" srcId="{22C8004B-A441-4F06-B14F-E6072A253398}" destId="{3014A0A9-B888-44B6-87FD-3FA34B8C82C9}" srcOrd="0" destOrd="0" presId="urn:microsoft.com/office/officeart/2005/8/layout/chevron1"/>
    <dgm:cxn modelId="{BFE63539-22DE-4975-9F2B-B16967A9B79A}" srcId="{22C8004B-A441-4F06-B14F-E6072A253398}" destId="{CC6DE7D9-FFFB-4048-A63C-05CB70202A8D}" srcOrd="1" destOrd="0" parTransId="{00571E69-0253-4D2C-8C3E-A4B850FAE6D3}" sibTransId="{87372C84-E1D2-46B0-A14E-6954F848ADF5}"/>
    <dgm:cxn modelId="{E1E59465-DFD3-4B70-AF4D-EAADB5423510}" type="presParOf" srcId="{3014A0A9-B888-44B6-87FD-3FA34B8C82C9}" destId="{186D22AC-C516-4D8C-AE22-0C650918D950}" srcOrd="0" destOrd="0" presId="urn:microsoft.com/office/officeart/2005/8/layout/chevron1"/>
    <dgm:cxn modelId="{7C715FDC-B511-4806-A355-159540540A45}" type="presParOf" srcId="{3014A0A9-B888-44B6-87FD-3FA34B8C82C9}" destId="{47E3C63A-3CC1-478C-B991-43B301263277}" srcOrd="1" destOrd="0" presId="urn:microsoft.com/office/officeart/2005/8/layout/chevron1"/>
    <dgm:cxn modelId="{F1E472DF-0C8F-4853-9E7F-7EDEE7AFA502}" type="presParOf" srcId="{3014A0A9-B888-44B6-87FD-3FA34B8C82C9}" destId="{0550EBE2-3CC1-4770-9B02-DDFB5E793DEB}" srcOrd="2" destOrd="0" presId="urn:microsoft.com/office/officeart/2005/8/layout/chevron1"/>
    <dgm:cxn modelId="{8BD3A934-8F7A-4486-9EDA-D73E0A3EA77C}" type="presParOf" srcId="{3014A0A9-B888-44B6-87FD-3FA34B8C82C9}" destId="{F74FCDA3-7548-4E1D-B303-B0E816C39017}" srcOrd="3" destOrd="0" presId="urn:microsoft.com/office/officeart/2005/8/layout/chevron1"/>
    <dgm:cxn modelId="{8A66A2CB-8CC0-4A99-BFB6-2FF7CEB5BB9C}" type="presParOf" srcId="{3014A0A9-B888-44B6-87FD-3FA34B8C82C9}" destId="{4B9CD59A-2F66-4026-8766-3B087A0BF111}" srcOrd="4" destOrd="0" presId="urn:microsoft.com/office/officeart/2005/8/layout/chevron1"/>
    <dgm:cxn modelId="{43EF740C-9481-4D32-95BA-434869188FFF}" type="presParOf" srcId="{3014A0A9-B888-44B6-87FD-3FA34B8C82C9}" destId="{A0AB805B-C3F3-43BE-A6AC-1DE8E7971A35}" srcOrd="5" destOrd="0" presId="urn:microsoft.com/office/officeart/2005/8/layout/chevron1"/>
    <dgm:cxn modelId="{EDD6101B-07C1-4C39-8020-DFD802E7E50F}" type="presParOf" srcId="{3014A0A9-B888-44B6-87FD-3FA34B8C82C9}" destId="{6BF36520-8AA0-4A43-B331-55C5B7C98C9D}" srcOrd="6" destOrd="0" presId="urn:microsoft.com/office/officeart/2005/8/layout/chevron1"/>
  </dgm:cxnLst>
  <dgm:bg>
    <a:noFill/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86D22AC-C516-4D8C-AE22-0C650918D950}">
      <dsp:nvSpPr>
        <dsp:cNvPr id="0" name=""/>
        <dsp:cNvSpPr/>
      </dsp:nvSpPr>
      <dsp:spPr>
        <a:xfrm>
          <a:off x="1609" y="0"/>
          <a:ext cx="2006914" cy="464456"/>
        </a:xfrm>
        <a:prstGeom prst="chevron">
          <a:avLst/>
        </a:prstGeom>
        <a:solidFill>
          <a:schemeClr val="accent6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>
              <a:latin typeface="Simplon BP Regular" pitchFamily="2" charset="0"/>
            </a:rPr>
            <a:t>Segunda-feira</a:t>
          </a:r>
          <a:endParaRPr lang="pt-BR" sz="1800" kern="1200" dirty="0">
            <a:latin typeface="Simplon BP Regular" pitchFamily="2" charset="0"/>
          </a:endParaRPr>
        </a:p>
      </dsp:txBody>
      <dsp:txXfrm>
        <a:off x="233837" y="0"/>
        <a:ext cx="1542458" cy="464456"/>
      </dsp:txXfrm>
    </dsp:sp>
    <dsp:sp modelId="{0550EBE2-3CC1-4770-9B02-DDFB5E793DEB}">
      <dsp:nvSpPr>
        <dsp:cNvPr id="0" name=""/>
        <dsp:cNvSpPr/>
      </dsp:nvSpPr>
      <dsp:spPr>
        <a:xfrm>
          <a:off x="1826259" y="0"/>
          <a:ext cx="2003105" cy="464456"/>
        </a:xfrm>
        <a:prstGeom prst="chevron">
          <a:avLst/>
        </a:prstGeom>
        <a:solidFill>
          <a:schemeClr val="accent6">
            <a:alpha val="90000"/>
            <a:hueOff val="0"/>
            <a:satOff val="0"/>
            <a:lumOff val="0"/>
            <a:alphaOff val="-1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>
              <a:latin typeface="Simplon BP Regular" pitchFamily="2" charset="0"/>
            </a:rPr>
            <a:t>Terça-feira</a:t>
          </a:r>
          <a:endParaRPr lang="pt-BR" sz="1800" kern="1200" dirty="0">
            <a:latin typeface="Simplon BP Regular" pitchFamily="2" charset="0"/>
          </a:endParaRPr>
        </a:p>
      </dsp:txBody>
      <dsp:txXfrm>
        <a:off x="2058487" y="0"/>
        <a:ext cx="1538649" cy="464456"/>
      </dsp:txXfrm>
    </dsp:sp>
    <dsp:sp modelId="{4B9CD59A-2F66-4026-8766-3B087A0BF111}">
      <dsp:nvSpPr>
        <dsp:cNvPr id="0" name=""/>
        <dsp:cNvSpPr/>
      </dsp:nvSpPr>
      <dsp:spPr>
        <a:xfrm>
          <a:off x="3647099" y="0"/>
          <a:ext cx="1822645" cy="464456"/>
        </a:xfrm>
        <a:prstGeom prst="chevron">
          <a:avLst/>
        </a:prstGeom>
        <a:solidFill>
          <a:schemeClr val="accent6">
            <a:alpha val="90000"/>
            <a:hueOff val="0"/>
            <a:satOff val="0"/>
            <a:lumOff val="0"/>
            <a:alphaOff val="-2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>
              <a:latin typeface="Simplon BP Regular" pitchFamily="2" charset="0"/>
            </a:rPr>
            <a:t>Quarta-feira</a:t>
          </a:r>
          <a:endParaRPr lang="pt-BR" sz="1800" kern="1200" dirty="0">
            <a:latin typeface="Simplon BP Regular" pitchFamily="2" charset="0"/>
          </a:endParaRPr>
        </a:p>
      </dsp:txBody>
      <dsp:txXfrm>
        <a:off x="3879327" y="0"/>
        <a:ext cx="1358189" cy="464456"/>
      </dsp:txXfrm>
    </dsp:sp>
    <dsp:sp modelId="{6BF36520-8AA0-4A43-B331-55C5B7C98C9D}">
      <dsp:nvSpPr>
        <dsp:cNvPr id="0" name=""/>
        <dsp:cNvSpPr/>
      </dsp:nvSpPr>
      <dsp:spPr>
        <a:xfrm>
          <a:off x="5287480" y="0"/>
          <a:ext cx="1822645" cy="464456"/>
        </a:xfrm>
        <a:prstGeom prst="chevron">
          <a:avLst/>
        </a:prstGeom>
        <a:solidFill>
          <a:schemeClr val="accent6">
            <a:alpha val="90000"/>
            <a:hueOff val="0"/>
            <a:satOff val="0"/>
            <a:lumOff val="0"/>
            <a:alphaOff val="-3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>
              <a:latin typeface="Simplon BP Regular" pitchFamily="2" charset="0"/>
            </a:rPr>
            <a:t>Quinta-feira</a:t>
          </a:r>
          <a:endParaRPr lang="pt-BR" sz="1800" kern="1200" dirty="0">
            <a:latin typeface="Simplon BP Regular" pitchFamily="2" charset="0"/>
          </a:endParaRPr>
        </a:p>
      </dsp:txBody>
      <dsp:txXfrm>
        <a:off x="5519708" y="0"/>
        <a:ext cx="1358189" cy="464456"/>
      </dsp:txXfrm>
    </dsp:sp>
    <dsp:sp modelId="{CFE7FB2D-5E44-4218-85AD-E011C5731AF4}">
      <dsp:nvSpPr>
        <dsp:cNvPr id="0" name=""/>
        <dsp:cNvSpPr/>
      </dsp:nvSpPr>
      <dsp:spPr>
        <a:xfrm>
          <a:off x="6927860" y="0"/>
          <a:ext cx="1822645" cy="464456"/>
        </a:xfrm>
        <a:prstGeom prst="chevron">
          <a:avLst/>
        </a:prstGeom>
        <a:solidFill>
          <a:schemeClr val="accent6">
            <a:alpha val="90000"/>
            <a:hueOff val="0"/>
            <a:satOff val="0"/>
            <a:lumOff val="0"/>
            <a:alphaOff val="-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>
              <a:latin typeface="Simplon BP Regular" pitchFamily="2" charset="0"/>
            </a:rPr>
            <a:t>Sexta-feira</a:t>
          </a:r>
          <a:endParaRPr lang="pt-BR" sz="1800" kern="1200" dirty="0">
            <a:latin typeface="Simplon BP Regular" pitchFamily="2" charset="0"/>
          </a:endParaRPr>
        </a:p>
      </dsp:txBody>
      <dsp:txXfrm>
        <a:off x="7160088" y="0"/>
        <a:ext cx="1358189" cy="464456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CircleAccentTimeline">
  <dgm:title val=""/>
  <dgm:desc val=""/>
  <dgm:catLst>
    <dgm:cat type="process" pri="7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41" srcId="1" destId="11" srcOrd="0" destOrd="0"/>
        <dgm:cxn modelId="42" srcId="1" destId="12" srcOrd="1" destOrd="0"/>
        <dgm:cxn modelId="5" srcId="0" destId="2" srcOrd="0" destOrd="0"/>
        <dgm:cxn modelId="51" srcId="2" destId="21" srcOrd="0" destOrd="0"/>
        <dgm:cxn modelId="52" srcId="2" destId="2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41" srcId="1" destId="11" srcOrd="0" destOrd="0"/>
        <dgm:cxn modelId="5" srcId="0" destId="2" srcOrd="0" destOrd="0"/>
        <dgm:cxn modelId="51" srcId="2" destId="21" srcOrd="0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41" srcId="1" destId="11" srcOrd="0" destOrd="0"/>
        <dgm:cxn modelId="5" srcId="0" destId="2" srcOrd="0" destOrd="0"/>
        <dgm:cxn modelId="51" srcId="2" destId="21" srcOrd="0" destOrd="0"/>
      </dgm:cxnLst>
      <dgm:bg/>
      <dgm:whole/>
    </dgm:dataModel>
  </dgm:clrData>
  <dgm:layoutNode name="Name0">
    <dgm:varLst>
      <dgm:dir/>
    </dgm:varLst>
    <dgm:choose name="Name1">
      <dgm:if name="Name2" func="var" arg="dir" op="equ" val="norm">
        <dgm:alg type="lin">
          <dgm:param type="fallback" val="2D"/>
          <dgm:param type="nodeVertAlign" val="b"/>
        </dgm:alg>
      </dgm:if>
      <dgm:else name="Name3">
        <dgm:alg type="lin">
          <dgm:param type="fallback" val="2D"/>
          <dgm:param type="nodeVertAlign" val="b"/>
          <dgm:param type="linDir" val="fromR"/>
        </dgm:alg>
      </dgm:else>
    </dgm:choose>
    <dgm:shape xmlns:r="http://schemas.openxmlformats.org/officeDocument/2006/relationships" r:blip="">
      <dgm:adjLst/>
    </dgm:shape>
    <dgm:constrLst>
      <dgm:constr type="h" for="ch" forName="parComposite" refType="h"/>
      <dgm:constr type="w" for="ch" forName="parComposite" refType="h" refFor="ch" refForName="parComposite" fact="0.4986"/>
      <dgm:constr type="h" for="ch" forName="desComposite" refType="h" fact="0.8722"/>
      <dgm:constr type="w" for="ch" forName="desComposite" refType="h" refFor="ch" refForName="desComposite" fact="0.6056"/>
      <dgm:constr type="w" for="ch" forName="parBackupNorm" refType="w" refFor="ch" refForName="parComposite" fact="-0.3369"/>
      <dgm:constr type="w" for="ch" forName="parBackupRTL" refType="w" refFor="ch" refForName="parComposite" fact="-0.3369"/>
      <dgm:constr type="w" for="ch" forName="parBackupRev" refType="w" refFor="ch" refForName="parComposite" fact="0"/>
      <dgm:constr type="w" for="ch" forName="desBackupLeftNorm" refType="w" refFor="ch" refForName="desComposite" fact="-0.3376"/>
      <dgm:constr type="w" for="ch" forName="desBackupLeftRev" refType="w" refFor="ch" refForName="desComposite" fact="-0.3376"/>
      <dgm:constr type="w" for="ch" forName="desBackupRightNorm" refType="w" refFor="ch" refForName="desComposite" fact="-0.3376"/>
      <dgm:constr type="w" for="ch" forName="desBackupRightRev" refType="w" refFor="ch" refForName="desComposite" fact="-0.3376"/>
      <dgm:constr type="w" for="ch" forName="parSpace" refType="w" refFor="ch" refForName="parComposite" fact="0.05"/>
      <dgm:constr type="w" for="ch" forName="desSpace" refType="w" refFor="ch" refForName="parComposite" fact="0.05"/>
      <dgm:constr type="primFontSz" for="des" forName="parTx" op="equ" val="65"/>
      <dgm:constr type="primFontSz" for="des" forName="chTx" refType="primFontSz" refFor="des" refForName="parTx" op="lte" val="65"/>
      <dgm:constr type="primFontSz" for="des" forName="desTx" refType="primFontSz" refFor="des" refForName="chTx" op="lte" val="65"/>
      <dgm:constr type="primFontSz" for="des" forName="desTx" refType="primFontSz" refFor="des" refForName="parTx" op="lte"/>
    </dgm:constrLst>
    <dgm:forEach name="Name4" axis="ch" ptType="node">
      <dgm:layoutNode name="parComposite">
        <dgm:alg type="composite"/>
        <dgm:shape xmlns:r="http://schemas.openxmlformats.org/officeDocument/2006/relationships" r:blip="">
          <dgm:adjLst/>
        </dgm:shape>
        <dgm:choose name="Name5">
          <dgm:if name="Name6" func="var" arg="dir" op="equ" val="norm">
            <dgm:constrLst>
              <dgm:constr type="l" for="ch" forName="parBigCircle"/>
              <dgm:constr type="ctrY" for="ch" forName="parBigCircle" refType="h" fact="0.5639"/>
              <dgm:constr type="w" for="ch" forName="parBigCircle" refType="w" fact="0.6631"/>
              <dgm:constr type="h" for="ch" forName="parBigCircle" refType="w" refFor="ch" refForName="parBigCircle"/>
              <dgm:constr type="r" for="ch" forName="parTx" refType="w"/>
              <dgm:constr type="t" for="ch" forName="parTx"/>
              <dgm:constr type="w" for="ch" forName="parTx" refType="w" fact="0.7084"/>
              <dgm:constr type="h" for="ch" forName="parTx" refType="h" fact="0.4562"/>
              <dgm:constr type="t" for="ch" forName="bSpace" refType="ctrY" refFor="ch" refForName="parBigCircle"/>
              <dgm:constr type="b" for="ch" forName="bSpace" refType="h"/>
              <dgm:constr type="l" for="ch" forName="bSpace"/>
              <dgm:constr type="w" for="ch" forName="bSpace" val="1"/>
            </dgm:constrLst>
          </dgm:if>
          <dgm:else name="Name7">
            <dgm:constrLst>
              <dgm:constr type="r" for="ch" forName="parBigCircle" refType="w"/>
              <dgm:constr type="ctrY" for="ch" forName="parBigCircle" refType="h" fact="0.5639"/>
              <dgm:constr type="w" for="ch" forName="parBigCircle" refType="w" fact="0.6631"/>
              <dgm:constr type="h" for="ch" forName="parBigCircle" refType="w" refFor="ch" refForName="parBigCircle"/>
              <dgm:constr type="l" for="ch" forName="parTx" fact="0"/>
              <dgm:constr type="t" for="ch" forName="parTx"/>
              <dgm:constr type="w" for="ch" forName="parTx" refType="w" fact="0.7084"/>
              <dgm:constr type="h" for="ch" forName="parTx" refType="h" fact="0.4562"/>
              <dgm:constr type="t" for="ch" forName="bSpace" refType="ctrY" refFor="ch" refForName="parBigCircle"/>
              <dgm:constr type="b" for="ch" forName="bSpace" refType="h"/>
              <dgm:constr type="r" for="ch" forName="bSpace"/>
              <dgm:constr type="w" for="ch" forName="bSpace" val="1"/>
            </dgm:constrLst>
          </dgm:else>
        </dgm:choose>
        <dgm:layoutNode name="parBigCircle" styleLbl="node0">
          <dgm:alg type="sp"/>
          <dgm:shape xmlns:r="http://schemas.openxmlformats.org/officeDocument/2006/relationships" type="donut" r:blip="">
            <dgm:adjLst>
              <dgm:adj idx="1" val="0.2"/>
            </dgm:adjLst>
          </dgm:shape>
          <dgm:presOf/>
          <dgm:constrLst>
            <dgm:constr type="h" refType="w" op="equ"/>
          </dgm:constrLst>
        </dgm:layoutNode>
        <dgm:layoutNode name="parTx" styleLbl="revTx">
          <dgm:choose name="Name8">
            <dgm:if name="Name9" func="var" arg="dir" op="equ" val="norm">
              <dgm:alg type="tx">
                <dgm:param type="autoTxRot" val="grav"/>
                <dgm:param type="parTxLTRAlign" val="l"/>
              </dgm:alg>
              <dgm:shape xmlns:r="http://schemas.openxmlformats.org/officeDocument/2006/relationships" rot="295" type="rect" r:blip="">
                <dgm:adjLst/>
              </dgm:shape>
              <dgm:presOf axis="self" ptType="node"/>
              <dgm:constrLst>
                <dgm:constr type="lMarg" refType="primFontSz" fact="0.2"/>
                <dgm:constr type="rMarg"/>
                <dgm:constr type="tMarg"/>
                <dgm:constr type="bMarg"/>
              </dgm:constrLst>
            </dgm:if>
            <dgm:else name="Name10">
              <dgm:alg type="tx">
                <dgm:param type="autoTxRot" val="grav"/>
                <dgm:param type="parTxLTRAlign" val="r"/>
              </dgm:alg>
              <dgm:shape xmlns:r="http://schemas.openxmlformats.org/officeDocument/2006/relationships" rot="65" type="rect" r:blip="">
                <dgm:adjLst/>
              </dgm:shape>
              <dgm:presOf axis="self" ptType="node"/>
              <dgm:constrLst>
                <dgm:constr type="lMarg"/>
                <dgm:constr type="rMarg" refType="primFontSz" fact="0.2"/>
                <dgm:constr type="tMarg"/>
                <dgm:constr type="bMarg"/>
              </dgm:constrLst>
            </dgm:else>
          </dgm:choose>
          <dgm:ruleLst>
            <dgm:rule type="primFontSz" val="5" fact="NaN" max="NaN"/>
          </dgm:ruleLst>
        </dgm:layoutNode>
        <dgm:layoutNode name="bSpace">
          <dgm:alg type="sp"/>
          <dgm:shape xmlns:r="http://schemas.openxmlformats.org/officeDocument/2006/relationships" r:blip="">
            <dgm:adjLst/>
          </dgm:shape>
          <dgm:presOf/>
        </dgm:layoutNode>
      </dgm:layoutNode>
      <dgm:choose name="Name11">
        <dgm:if name="Name12" func="var" arg="dir" op="equ" val="norm">
          <dgm:layoutNode name="parBackupNorm">
            <dgm:alg type="sp"/>
            <dgm:shape xmlns:r="http://schemas.openxmlformats.org/officeDocument/2006/relationships" r:blip="">
              <dgm:adjLst/>
            </dgm:shape>
            <dgm:presOf/>
          </dgm:layoutNode>
        </dgm:if>
        <dgm:else name="Name13">
          <dgm:layoutNode name="parBackupRTL">
            <dgm:alg type="sp"/>
            <dgm:shape xmlns:r="http://schemas.openxmlformats.org/officeDocument/2006/relationships" r:blip="">
              <dgm:adjLst/>
            </dgm:shape>
            <dgm:presOf/>
          </dgm:layoutNode>
        </dgm:else>
      </dgm:choose>
      <dgm:forEach name="Name14" axis="followSib" ptType="sibTrans" hideLastTrans="0" cnt="1">
        <dgm:layoutNode name="parSpace">
          <dgm:alg type="sp"/>
          <dgm:shape xmlns:r="http://schemas.openxmlformats.org/officeDocument/2006/relationships" r:blip="">
            <dgm:adjLst/>
          </dgm:shape>
          <dgm:presOf/>
        </dgm:layoutNode>
      </dgm:forEach>
      <dgm:forEach name="Name15" axis="ch" ptType="node">
        <dgm:choose name="Name16">
          <dgm:if name="Name17" func="var" arg="dir" op="equ" val="norm">
            <dgm:layoutNode name="desBackupLeftNorm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if>
          <dgm:else name="Name18">
            <dgm:choose name="Name19">
              <dgm:if name="Name20" axis="self" ptType="node" func="pos" op="equ" val="1">
                <dgm:layoutNode name="desBackupRightRev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21"/>
            </dgm:choose>
          </dgm:else>
        </dgm:choose>
        <dgm:layoutNode name="desComposite">
          <dgm:alg type="composite"/>
          <dgm:shape xmlns:r="http://schemas.openxmlformats.org/officeDocument/2006/relationships" r:blip="">
            <dgm:adjLst/>
          </dgm:shape>
          <dgm:choose name="Name22">
            <dgm:if name="Name23" func="var" arg="dir" op="equ" val="norm">
              <dgm:constrLst>
                <dgm:constr type="ctrX" for="ch" forName="desCircle" refType="w" fact="0.5"/>
                <dgm:constr type="ctrY" for="ch" forName="desCircle" refType="h" fact="0.5"/>
                <dgm:constr type="w" for="ch" forName="desCircle" refType="w" fact="0.3249"/>
                <dgm:constr type="h" for="ch" forName="desCircle" refType="w" refFor="ch" refForName="desCircle"/>
                <dgm:constr type="l" for="ch" forName="chTx"/>
                <dgm:constr type="b" for="ch" forName="chTx" refType="h"/>
                <dgm:constr type="w" for="ch" forName="chTx" refType="w" fact="0.5786"/>
                <dgm:constr type="h" for="ch" forName="chTx" refType="h" fact="0.4525"/>
                <dgm:constr type="r" for="ch" forName="desTx" refType="w"/>
                <dgm:constr type="t" for="ch" forName="desTx"/>
                <dgm:constr type="w" for="ch" forName="desTx" refType="w" fact="0.5786"/>
                <dgm:constr type="h" for="ch" forName="desTx" refType="h" fact="0.4525"/>
              </dgm:constrLst>
            </dgm:if>
            <dgm:else name="Name24">
              <dgm:constrLst>
                <dgm:constr type="ctrX" for="ch" forName="desCircle" refType="w" fact="0.5"/>
                <dgm:constr type="ctrY" for="ch" forName="desCircle" refType="h" fact="0.5"/>
                <dgm:constr type="w" for="ch" forName="desCircle" refType="w" fact="0.3249"/>
                <dgm:constr type="h" for="ch" forName="desCircle" refType="w" refFor="ch" refForName="desCircle"/>
                <dgm:constr type="r" for="ch" forName="chTx" refType="w"/>
                <dgm:constr type="b" for="ch" forName="chTx" refType="h"/>
                <dgm:constr type="w" for="ch" forName="chTx" refType="w" fact="0.5786"/>
                <dgm:constr type="h" for="ch" forName="chTx" refType="h" fact="0.4525"/>
                <dgm:constr type="l" for="ch" forName="desTx"/>
                <dgm:constr type="t" for="ch" forName="desTx"/>
                <dgm:constr type="w" for="ch" forName="desTx" refType="w" fact="0.5786"/>
                <dgm:constr type="h" for="ch" forName="desTx" refType="h" fact="0.4525"/>
              </dgm:constrLst>
            </dgm:else>
          </dgm:choose>
          <dgm:layoutNode name="desCircle" styleLbl="node1">
            <dgm:alg type="sp"/>
            <dgm:shape xmlns:r="http://schemas.openxmlformats.org/officeDocument/2006/relationships" type="ellipse" r:blip="">
              <dgm:adjLst/>
            </dgm:shape>
            <dgm:presOf/>
            <dgm:constrLst>
              <dgm:constr type="h" refType="w" op="equ"/>
            </dgm:constrLst>
          </dgm:layoutNode>
          <dgm:layoutNode name="chTx" styleLbl="revTx">
            <dgm:choose name="Name25">
              <dgm:if name="Name26" func="var" arg="dir" op="equ" val="norm">
                <dgm:alg type="tx">
                  <dgm:param type="autoTxRot" val="grav"/>
                  <dgm:param type="parTxLTRAlign" val="r"/>
                  <dgm:param type="txAnchorVert" val="mid"/>
                  <dgm:param type="txAnchorVertCh" val="mid"/>
                </dgm:alg>
                <dgm:shape xmlns:r="http://schemas.openxmlformats.org/officeDocument/2006/relationships" rot="295" type="rect" r:blip="">
                  <dgm:adjLst/>
                </dgm:shape>
                <dgm:presOf axis="self" ptType="node"/>
              </dgm:if>
              <dgm:else name="Name27">
                <dgm:alg type="tx">
                  <dgm:param type="autoTxRot" val="grav"/>
                  <dgm:param type="parTxLTRAlign" val="l"/>
                  <dgm:param type="txAnchorVert" val="mid"/>
                  <dgm:param type="txAnchorVertCh" val="mid"/>
                </dgm:alg>
                <dgm:shape xmlns:r="http://schemas.openxmlformats.org/officeDocument/2006/relationships" rot="65" type="rect" r:blip="">
                  <dgm:adjLst/>
                </dgm:shape>
                <dgm:presOf axis="self" ptType="node"/>
              </dgm:else>
            </dgm:choose>
            <dgm:choose name="Name28">
              <dgm:if name="Name29" func="var" arg="dir" op="equ" val="norm">
                <dgm:constrLst>
                  <dgm:constr type="lMarg"/>
                  <dgm:constr type="rMarg" refType="primFontSz" fact="0.2"/>
                  <dgm:constr type="tMarg"/>
                  <dgm:constr type="bMarg"/>
                </dgm:constrLst>
              </dgm:if>
              <dgm:else name="Name30">
                <dgm:constrLst>
                  <dgm:constr type="rMarg"/>
                  <dgm:constr type="lMarg" refType="primFontSz" fact="0.2"/>
                  <dgm:constr type="tMarg"/>
                  <dgm:constr type="bMarg"/>
                </dgm:constrLst>
              </dgm:else>
            </dgm:choose>
            <dgm:ruleLst>
              <dgm:rule type="primFontSz" val="5" fact="NaN" max="NaN"/>
            </dgm:ruleLst>
          </dgm:layoutNode>
          <dgm:layoutNode name="desTx" styleLbl="revTx">
            <dgm:varLst>
              <dgm:bulletEnabled val="1"/>
            </dgm:varLst>
            <dgm:choose name="Name31">
              <dgm:if name="Name32" func="var" arg="dir" op="equ" val="norm">
                <dgm:alg type="tx">
                  <dgm:param type="autoTxRot" val="grav"/>
                  <dgm:param type="parTxLTRAlign" val="l"/>
                  <dgm:param type="shpTxLTRAlignCh" val="l"/>
                  <dgm:param type="stBulletLvl" val="1"/>
                  <dgm:param type="txAnchorVert" val="mid"/>
                </dgm:alg>
                <dgm:shape xmlns:r="http://schemas.openxmlformats.org/officeDocument/2006/relationships" rot="295" type="rect" r:blip="">
                  <dgm:adjLst/>
                </dgm:shape>
                <dgm:presOf axis="des" ptType="node"/>
              </dgm:if>
              <dgm:else name="Name33">
                <dgm:alg type="tx">
                  <dgm:param type="autoTxRot" val="grav"/>
                  <dgm:param type="parTxLTRAlign" val="r"/>
                  <dgm:param type="shpTxLTRAlignCh" val="r"/>
                  <dgm:param type="stBulletLvl" val="1"/>
                  <dgm:param type="txAnchorVert" val="mid"/>
                </dgm:alg>
                <dgm:shape xmlns:r="http://schemas.openxmlformats.org/officeDocument/2006/relationships" rot="65" type="rect" r:blip="">
                  <dgm:adjLst/>
                </dgm:shape>
                <dgm:presOf axis="des" ptType="node"/>
              </dgm:else>
            </dgm:choose>
            <dgm:choose name="Name34">
              <dgm:if name="Name35" func="var" arg="dir" op="equ" val="norm">
                <dgm:constrLst>
                  <dgm:constr type="rMarg"/>
                  <dgm:constr type="lMarg" refType="primFontSz" fact="0.2"/>
                  <dgm:constr type="tMarg"/>
                  <dgm:constr type="bMarg"/>
                </dgm:constrLst>
              </dgm:if>
              <dgm:else name="Name36">
                <dgm:constrLst>
                  <dgm:constr type="lMarg"/>
                  <dgm:constr type="rMarg" refType="primFontSz" fact="0.2"/>
                  <dgm:constr type="tMarg"/>
                  <dgm:constr type="bMarg"/>
                </dgm:constrLst>
              </dgm:else>
            </dgm:choose>
            <dgm:ruleLst>
              <dgm:rule type="primFontSz" val="5" fact="NaN" max="NaN"/>
            </dgm:ruleLst>
          </dgm:layoutNode>
        </dgm:layoutNode>
        <dgm:layoutNode name="desBackupRightNorm">
          <dgm:alg type="sp"/>
          <dgm:shape xmlns:r="http://schemas.openxmlformats.org/officeDocument/2006/relationships" r:blip="">
            <dgm:adjLst/>
          </dgm:shape>
          <dgm:presOf/>
        </dgm:layoutNode>
        <dgm:choose name="Name37">
          <dgm:if name="Name38" func="var" arg="dir" op="neq" val="norm">
            <dgm:choose name="Name39">
              <dgm:if name="Name40" axis="self" ptType="node" func="revPos" op="neq" val="1">
                <dgm:layoutNode name="desBackupLeftRev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41"/>
            </dgm:choose>
          </dgm:if>
          <dgm:else name="Name42"/>
        </dgm:choose>
        <dgm:forEach name="Name43" axis="followSib" ptType="sibTrans" hideLastTrans="0" cnt="1">
          <dgm:layoutNode name="desSpace">
            <dgm:alg type="sp"/>
            <dgm:shape xmlns:r="http://schemas.openxmlformats.org/officeDocument/2006/relationships" r:blip="">
              <dgm:adjLst/>
            </dgm:shape>
            <dgm:presOf/>
          </dgm:layoutNode>
        </dgm:forEach>
      </dgm:forEach>
      <dgm:choose name="Name44">
        <dgm:if name="Name45" func="var" arg="dir" op="neq" val="norm">
          <dgm:layoutNode name="parBackupRev">
            <dgm:alg type="sp"/>
            <dgm:shape xmlns:r="http://schemas.openxmlformats.org/officeDocument/2006/relationships" r:blip="">
              <dgm:adjLst/>
            </dgm:shape>
            <dgm:presOf/>
          </dgm:layoutNode>
        </dgm:if>
        <dgm:else name="Name46"/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CircleAccentTimeline">
  <dgm:title val=""/>
  <dgm:desc val=""/>
  <dgm:catLst>
    <dgm:cat type="process" pri="7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41" srcId="1" destId="11" srcOrd="0" destOrd="0"/>
        <dgm:cxn modelId="42" srcId="1" destId="12" srcOrd="1" destOrd="0"/>
        <dgm:cxn modelId="5" srcId="0" destId="2" srcOrd="0" destOrd="0"/>
        <dgm:cxn modelId="51" srcId="2" destId="21" srcOrd="0" destOrd="0"/>
        <dgm:cxn modelId="52" srcId="2" destId="2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41" srcId="1" destId="11" srcOrd="0" destOrd="0"/>
        <dgm:cxn modelId="5" srcId="0" destId="2" srcOrd="0" destOrd="0"/>
        <dgm:cxn modelId="51" srcId="2" destId="21" srcOrd="0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41" srcId="1" destId="11" srcOrd="0" destOrd="0"/>
        <dgm:cxn modelId="5" srcId="0" destId="2" srcOrd="0" destOrd="0"/>
        <dgm:cxn modelId="51" srcId="2" destId="21" srcOrd="0" destOrd="0"/>
      </dgm:cxnLst>
      <dgm:bg/>
      <dgm:whole/>
    </dgm:dataModel>
  </dgm:clrData>
  <dgm:layoutNode name="Name0">
    <dgm:varLst>
      <dgm:dir/>
    </dgm:varLst>
    <dgm:choose name="Name1">
      <dgm:if name="Name2" func="var" arg="dir" op="equ" val="norm">
        <dgm:alg type="lin">
          <dgm:param type="fallback" val="2D"/>
          <dgm:param type="nodeVertAlign" val="b"/>
        </dgm:alg>
      </dgm:if>
      <dgm:else name="Name3">
        <dgm:alg type="lin">
          <dgm:param type="fallback" val="2D"/>
          <dgm:param type="nodeVertAlign" val="b"/>
          <dgm:param type="linDir" val="fromR"/>
        </dgm:alg>
      </dgm:else>
    </dgm:choose>
    <dgm:shape xmlns:r="http://schemas.openxmlformats.org/officeDocument/2006/relationships" r:blip="">
      <dgm:adjLst/>
    </dgm:shape>
    <dgm:constrLst>
      <dgm:constr type="h" for="ch" forName="parComposite" refType="h"/>
      <dgm:constr type="w" for="ch" forName="parComposite" refType="h" refFor="ch" refForName="parComposite" fact="0.4986"/>
      <dgm:constr type="h" for="ch" forName="desComposite" refType="h" fact="0.8722"/>
      <dgm:constr type="w" for="ch" forName="desComposite" refType="h" refFor="ch" refForName="desComposite" fact="0.6056"/>
      <dgm:constr type="w" for="ch" forName="parBackupNorm" refType="w" refFor="ch" refForName="parComposite" fact="-0.3369"/>
      <dgm:constr type="w" for="ch" forName="parBackupRTL" refType="w" refFor="ch" refForName="parComposite" fact="-0.3369"/>
      <dgm:constr type="w" for="ch" forName="parBackupRev" refType="w" refFor="ch" refForName="parComposite" fact="0"/>
      <dgm:constr type="w" for="ch" forName="desBackupLeftNorm" refType="w" refFor="ch" refForName="desComposite" fact="-0.3376"/>
      <dgm:constr type="w" for="ch" forName="desBackupLeftRev" refType="w" refFor="ch" refForName="desComposite" fact="-0.3376"/>
      <dgm:constr type="w" for="ch" forName="desBackupRightNorm" refType="w" refFor="ch" refForName="desComposite" fact="-0.3376"/>
      <dgm:constr type="w" for="ch" forName="desBackupRightRev" refType="w" refFor="ch" refForName="desComposite" fact="-0.3376"/>
      <dgm:constr type="w" for="ch" forName="parSpace" refType="w" refFor="ch" refForName="parComposite" fact="0.05"/>
      <dgm:constr type="w" for="ch" forName="desSpace" refType="w" refFor="ch" refForName="parComposite" fact="0.05"/>
      <dgm:constr type="primFontSz" for="des" forName="parTx" op="equ" val="65"/>
      <dgm:constr type="primFontSz" for="des" forName="chTx" refType="primFontSz" refFor="des" refForName="parTx" op="lte" val="65"/>
      <dgm:constr type="primFontSz" for="des" forName="desTx" refType="primFontSz" refFor="des" refForName="chTx" op="lte" val="65"/>
      <dgm:constr type="primFontSz" for="des" forName="desTx" refType="primFontSz" refFor="des" refForName="parTx" op="lte"/>
    </dgm:constrLst>
    <dgm:forEach name="Name4" axis="ch" ptType="node">
      <dgm:layoutNode name="parComposite">
        <dgm:alg type="composite"/>
        <dgm:shape xmlns:r="http://schemas.openxmlformats.org/officeDocument/2006/relationships" r:blip="">
          <dgm:adjLst/>
        </dgm:shape>
        <dgm:choose name="Name5">
          <dgm:if name="Name6" func="var" arg="dir" op="equ" val="norm">
            <dgm:constrLst>
              <dgm:constr type="l" for="ch" forName="parBigCircle"/>
              <dgm:constr type="ctrY" for="ch" forName="parBigCircle" refType="h" fact="0.5639"/>
              <dgm:constr type="w" for="ch" forName="parBigCircle" refType="w" fact="0.6631"/>
              <dgm:constr type="h" for="ch" forName="parBigCircle" refType="w" refFor="ch" refForName="parBigCircle"/>
              <dgm:constr type="r" for="ch" forName="parTx" refType="w"/>
              <dgm:constr type="t" for="ch" forName="parTx"/>
              <dgm:constr type="w" for="ch" forName="parTx" refType="w" fact="0.7084"/>
              <dgm:constr type="h" for="ch" forName="parTx" refType="h" fact="0.4562"/>
              <dgm:constr type="t" for="ch" forName="bSpace" refType="ctrY" refFor="ch" refForName="parBigCircle"/>
              <dgm:constr type="b" for="ch" forName="bSpace" refType="h"/>
              <dgm:constr type="l" for="ch" forName="bSpace"/>
              <dgm:constr type="w" for="ch" forName="bSpace" val="1"/>
            </dgm:constrLst>
          </dgm:if>
          <dgm:else name="Name7">
            <dgm:constrLst>
              <dgm:constr type="r" for="ch" forName="parBigCircle" refType="w"/>
              <dgm:constr type="ctrY" for="ch" forName="parBigCircle" refType="h" fact="0.5639"/>
              <dgm:constr type="w" for="ch" forName="parBigCircle" refType="w" fact="0.6631"/>
              <dgm:constr type="h" for="ch" forName="parBigCircle" refType="w" refFor="ch" refForName="parBigCircle"/>
              <dgm:constr type="l" for="ch" forName="parTx" fact="0"/>
              <dgm:constr type="t" for="ch" forName="parTx"/>
              <dgm:constr type="w" for="ch" forName="parTx" refType="w" fact="0.7084"/>
              <dgm:constr type="h" for="ch" forName="parTx" refType="h" fact="0.4562"/>
              <dgm:constr type="t" for="ch" forName="bSpace" refType="ctrY" refFor="ch" refForName="parBigCircle"/>
              <dgm:constr type="b" for="ch" forName="bSpace" refType="h"/>
              <dgm:constr type="r" for="ch" forName="bSpace"/>
              <dgm:constr type="w" for="ch" forName="bSpace" val="1"/>
            </dgm:constrLst>
          </dgm:else>
        </dgm:choose>
        <dgm:layoutNode name="parBigCircle" styleLbl="node0">
          <dgm:alg type="sp"/>
          <dgm:shape xmlns:r="http://schemas.openxmlformats.org/officeDocument/2006/relationships" type="donut" r:blip="">
            <dgm:adjLst>
              <dgm:adj idx="1" val="0.2"/>
            </dgm:adjLst>
          </dgm:shape>
          <dgm:presOf/>
          <dgm:constrLst>
            <dgm:constr type="h" refType="w" op="equ"/>
          </dgm:constrLst>
        </dgm:layoutNode>
        <dgm:layoutNode name="parTx" styleLbl="revTx">
          <dgm:choose name="Name8">
            <dgm:if name="Name9" func="var" arg="dir" op="equ" val="norm">
              <dgm:alg type="tx">
                <dgm:param type="autoTxRot" val="grav"/>
                <dgm:param type="parTxLTRAlign" val="l"/>
              </dgm:alg>
              <dgm:shape xmlns:r="http://schemas.openxmlformats.org/officeDocument/2006/relationships" rot="295" type="rect" r:blip="">
                <dgm:adjLst/>
              </dgm:shape>
              <dgm:presOf axis="self" ptType="node"/>
              <dgm:constrLst>
                <dgm:constr type="lMarg" refType="primFontSz" fact="0.2"/>
                <dgm:constr type="rMarg"/>
                <dgm:constr type="tMarg"/>
                <dgm:constr type="bMarg"/>
              </dgm:constrLst>
            </dgm:if>
            <dgm:else name="Name10">
              <dgm:alg type="tx">
                <dgm:param type="autoTxRot" val="grav"/>
                <dgm:param type="parTxLTRAlign" val="r"/>
              </dgm:alg>
              <dgm:shape xmlns:r="http://schemas.openxmlformats.org/officeDocument/2006/relationships" rot="65" type="rect" r:blip="">
                <dgm:adjLst/>
              </dgm:shape>
              <dgm:presOf axis="self" ptType="node"/>
              <dgm:constrLst>
                <dgm:constr type="lMarg"/>
                <dgm:constr type="rMarg" refType="primFontSz" fact="0.2"/>
                <dgm:constr type="tMarg"/>
                <dgm:constr type="bMarg"/>
              </dgm:constrLst>
            </dgm:else>
          </dgm:choose>
          <dgm:ruleLst>
            <dgm:rule type="primFontSz" val="5" fact="NaN" max="NaN"/>
          </dgm:ruleLst>
        </dgm:layoutNode>
        <dgm:layoutNode name="bSpace">
          <dgm:alg type="sp"/>
          <dgm:shape xmlns:r="http://schemas.openxmlformats.org/officeDocument/2006/relationships" r:blip="">
            <dgm:adjLst/>
          </dgm:shape>
          <dgm:presOf/>
        </dgm:layoutNode>
      </dgm:layoutNode>
      <dgm:choose name="Name11">
        <dgm:if name="Name12" func="var" arg="dir" op="equ" val="norm">
          <dgm:layoutNode name="parBackupNorm">
            <dgm:alg type="sp"/>
            <dgm:shape xmlns:r="http://schemas.openxmlformats.org/officeDocument/2006/relationships" r:blip="">
              <dgm:adjLst/>
            </dgm:shape>
            <dgm:presOf/>
          </dgm:layoutNode>
        </dgm:if>
        <dgm:else name="Name13">
          <dgm:layoutNode name="parBackupRTL">
            <dgm:alg type="sp"/>
            <dgm:shape xmlns:r="http://schemas.openxmlformats.org/officeDocument/2006/relationships" r:blip="">
              <dgm:adjLst/>
            </dgm:shape>
            <dgm:presOf/>
          </dgm:layoutNode>
        </dgm:else>
      </dgm:choose>
      <dgm:forEach name="Name14" axis="followSib" ptType="sibTrans" hideLastTrans="0" cnt="1">
        <dgm:layoutNode name="parSpace">
          <dgm:alg type="sp"/>
          <dgm:shape xmlns:r="http://schemas.openxmlformats.org/officeDocument/2006/relationships" r:blip="">
            <dgm:adjLst/>
          </dgm:shape>
          <dgm:presOf/>
        </dgm:layoutNode>
      </dgm:forEach>
      <dgm:forEach name="Name15" axis="ch" ptType="node">
        <dgm:choose name="Name16">
          <dgm:if name="Name17" func="var" arg="dir" op="equ" val="norm">
            <dgm:layoutNode name="desBackupLeftNorm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if>
          <dgm:else name="Name18">
            <dgm:choose name="Name19">
              <dgm:if name="Name20" axis="self" ptType="node" func="pos" op="equ" val="1">
                <dgm:layoutNode name="desBackupRightRev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21"/>
            </dgm:choose>
          </dgm:else>
        </dgm:choose>
        <dgm:layoutNode name="desComposite">
          <dgm:alg type="composite"/>
          <dgm:shape xmlns:r="http://schemas.openxmlformats.org/officeDocument/2006/relationships" r:blip="">
            <dgm:adjLst/>
          </dgm:shape>
          <dgm:choose name="Name22">
            <dgm:if name="Name23" func="var" arg="dir" op="equ" val="norm">
              <dgm:constrLst>
                <dgm:constr type="ctrX" for="ch" forName="desCircle" refType="w" fact="0.5"/>
                <dgm:constr type="ctrY" for="ch" forName="desCircle" refType="h" fact="0.5"/>
                <dgm:constr type="w" for="ch" forName="desCircle" refType="w" fact="0.3249"/>
                <dgm:constr type="h" for="ch" forName="desCircle" refType="w" refFor="ch" refForName="desCircle"/>
                <dgm:constr type="l" for="ch" forName="chTx"/>
                <dgm:constr type="b" for="ch" forName="chTx" refType="h"/>
                <dgm:constr type="w" for="ch" forName="chTx" refType="w" fact="0.5786"/>
                <dgm:constr type="h" for="ch" forName="chTx" refType="h" fact="0.4525"/>
                <dgm:constr type="r" for="ch" forName="desTx" refType="w"/>
                <dgm:constr type="t" for="ch" forName="desTx"/>
                <dgm:constr type="w" for="ch" forName="desTx" refType="w" fact="0.5786"/>
                <dgm:constr type="h" for="ch" forName="desTx" refType="h" fact="0.4525"/>
              </dgm:constrLst>
            </dgm:if>
            <dgm:else name="Name24">
              <dgm:constrLst>
                <dgm:constr type="ctrX" for="ch" forName="desCircle" refType="w" fact="0.5"/>
                <dgm:constr type="ctrY" for="ch" forName="desCircle" refType="h" fact="0.5"/>
                <dgm:constr type="w" for="ch" forName="desCircle" refType="w" fact="0.3249"/>
                <dgm:constr type="h" for="ch" forName="desCircle" refType="w" refFor="ch" refForName="desCircle"/>
                <dgm:constr type="r" for="ch" forName="chTx" refType="w"/>
                <dgm:constr type="b" for="ch" forName="chTx" refType="h"/>
                <dgm:constr type="w" for="ch" forName="chTx" refType="w" fact="0.5786"/>
                <dgm:constr type="h" for="ch" forName="chTx" refType="h" fact="0.4525"/>
                <dgm:constr type="l" for="ch" forName="desTx"/>
                <dgm:constr type="t" for="ch" forName="desTx"/>
                <dgm:constr type="w" for="ch" forName="desTx" refType="w" fact="0.5786"/>
                <dgm:constr type="h" for="ch" forName="desTx" refType="h" fact="0.4525"/>
              </dgm:constrLst>
            </dgm:else>
          </dgm:choose>
          <dgm:layoutNode name="desCircle" styleLbl="node1">
            <dgm:alg type="sp"/>
            <dgm:shape xmlns:r="http://schemas.openxmlformats.org/officeDocument/2006/relationships" type="ellipse" r:blip="">
              <dgm:adjLst/>
            </dgm:shape>
            <dgm:presOf/>
            <dgm:constrLst>
              <dgm:constr type="h" refType="w" op="equ"/>
            </dgm:constrLst>
          </dgm:layoutNode>
          <dgm:layoutNode name="chTx" styleLbl="revTx">
            <dgm:choose name="Name25">
              <dgm:if name="Name26" func="var" arg="dir" op="equ" val="norm">
                <dgm:alg type="tx">
                  <dgm:param type="autoTxRot" val="grav"/>
                  <dgm:param type="parTxLTRAlign" val="r"/>
                  <dgm:param type="txAnchorVert" val="mid"/>
                  <dgm:param type="txAnchorVertCh" val="mid"/>
                </dgm:alg>
                <dgm:shape xmlns:r="http://schemas.openxmlformats.org/officeDocument/2006/relationships" rot="295" type="rect" r:blip="">
                  <dgm:adjLst/>
                </dgm:shape>
                <dgm:presOf axis="self" ptType="node"/>
              </dgm:if>
              <dgm:else name="Name27">
                <dgm:alg type="tx">
                  <dgm:param type="autoTxRot" val="grav"/>
                  <dgm:param type="parTxLTRAlign" val="l"/>
                  <dgm:param type="txAnchorVert" val="mid"/>
                  <dgm:param type="txAnchorVertCh" val="mid"/>
                </dgm:alg>
                <dgm:shape xmlns:r="http://schemas.openxmlformats.org/officeDocument/2006/relationships" rot="65" type="rect" r:blip="">
                  <dgm:adjLst/>
                </dgm:shape>
                <dgm:presOf axis="self" ptType="node"/>
              </dgm:else>
            </dgm:choose>
            <dgm:choose name="Name28">
              <dgm:if name="Name29" func="var" arg="dir" op="equ" val="norm">
                <dgm:constrLst>
                  <dgm:constr type="lMarg"/>
                  <dgm:constr type="rMarg" refType="primFontSz" fact="0.2"/>
                  <dgm:constr type="tMarg"/>
                  <dgm:constr type="bMarg"/>
                </dgm:constrLst>
              </dgm:if>
              <dgm:else name="Name30">
                <dgm:constrLst>
                  <dgm:constr type="rMarg"/>
                  <dgm:constr type="lMarg" refType="primFontSz" fact="0.2"/>
                  <dgm:constr type="tMarg"/>
                  <dgm:constr type="bMarg"/>
                </dgm:constrLst>
              </dgm:else>
            </dgm:choose>
            <dgm:ruleLst>
              <dgm:rule type="primFontSz" val="5" fact="NaN" max="NaN"/>
            </dgm:ruleLst>
          </dgm:layoutNode>
          <dgm:layoutNode name="desTx" styleLbl="revTx">
            <dgm:varLst>
              <dgm:bulletEnabled val="1"/>
            </dgm:varLst>
            <dgm:choose name="Name31">
              <dgm:if name="Name32" func="var" arg="dir" op="equ" val="norm">
                <dgm:alg type="tx">
                  <dgm:param type="autoTxRot" val="grav"/>
                  <dgm:param type="parTxLTRAlign" val="l"/>
                  <dgm:param type="shpTxLTRAlignCh" val="l"/>
                  <dgm:param type="stBulletLvl" val="1"/>
                  <dgm:param type="txAnchorVert" val="mid"/>
                </dgm:alg>
                <dgm:shape xmlns:r="http://schemas.openxmlformats.org/officeDocument/2006/relationships" rot="295" type="rect" r:blip="">
                  <dgm:adjLst/>
                </dgm:shape>
                <dgm:presOf axis="des" ptType="node"/>
              </dgm:if>
              <dgm:else name="Name33">
                <dgm:alg type="tx">
                  <dgm:param type="autoTxRot" val="grav"/>
                  <dgm:param type="parTxLTRAlign" val="r"/>
                  <dgm:param type="shpTxLTRAlignCh" val="r"/>
                  <dgm:param type="stBulletLvl" val="1"/>
                  <dgm:param type="txAnchorVert" val="mid"/>
                </dgm:alg>
                <dgm:shape xmlns:r="http://schemas.openxmlformats.org/officeDocument/2006/relationships" rot="65" type="rect" r:blip="">
                  <dgm:adjLst/>
                </dgm:shape>
                <dgm:presOf axis="des" ptType="node"/>
              </dgm:else>
            </dgm:choose>
            <dgm:choose name="Name34">
              <dgm:if name="Name35" func="var" arg="dir" op="equ" val="norm">
                <dgm:constrLst>
                  <dgm:constr type="rMarg"/>
                  <dgm:constr type="lMarg" refType="primFontSz" fact="0.2"/>
                  <dgm:constr type="tMarg"/>
                  <dgm:constr type="bMarg"/>
                </dgm:constrLst>
              </dgm:if>
              <dgm:else name="Name36">
                <dgm:constrLst>
                  <dgm:constr type="lMarg"/>
                  <dgm:constr type="rMarg" refType="primFontSz" fact="0.2"/>
                  <dgm:constr type="tMarg"/>
                  <dgm:constr type="bMarg"/>
                </dgm:constrLst>
              </dgm:else>
            </dgm:choose>
            <dgm:ruleLst>
              <dgm:rule type="primFontSz" val="5" fact="NaN" max="NaN"/>
            </dgm:ruleLst>
          </dgm:layoutNode>
        </dgm:layoutNode>
        <dgm:layoutNode name="desBackupRightNorm">
          <dgm:alg type="sp"/>
          <dgm:shape xmlns:r="http://schemas.openxmlformats.org/officeDocument/2006/relationships" r:blip="">
            <dgm:adjLst/>
          </dgm:shape>
          <dgm:presOf/>
        </dgm:layoutNode>
        <dgm:choose name="Name37">
          <dgm:if name="Name38" func="var" arg="dir" op="neq" val="norm">
            <dgm:choose name="Name39">
              <dgm:if name="Name40" axis="self" ptType="node" func="revPos" op="neq" val="1">
                <dgm:layoutNode name="desBackupLeftRev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41"/>
            </dgm:choose>
          </dgm:if>
          <dgm:else name="Name42"/>
        </dgm:choose>
        <dgm:forEach name="Name43" axis="followSib" ptType="sibTrans" hideLastTrans="0" cnt="1">
          <dgm:layoutNode name="desSpace">
            <dgm:alg type="sp"/>
            <dgm:shape xmlns:r="http://schemas.openxmlformats.org/officeDocument/2006/relationships" r:blip="">
              <dgm:adjLst/>
            </dgm:shape>
            <dgm:presOf/>
          </dgm:layoutNode>
        </dgm:forEach>
      </dgm:forEach>
      <dgm:choose name="Name44">
        <dgm:if name="Name45" func="var" arg="dir" op="neq" val="norm">
          <dgm:layoutNode name="parBackupRev">
            <dgm:alg type="sp"/>
            <dgm:shape xmlns:r="http://schemas.openxmlformats.org/officeDocument/2006/relationships" r:blip="">
              <dgm:adjLst/>
            </dgm:shape>
            <dgm:presOf/>
          </dgm:layoutNode>
        </dgm:if>
        <dgm:else name="Name46"/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99000" y="0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r">
              <a:defRPr sz="1300"/>
            </a:lvl1pPr>
          </a:lstStyle>
          <a:p>
            <a:fld id="{6D8B42B7-21BD-514C-9322-63B6A413DDF2}" type="datetime1">
              <a:rPr lang="en-US" smtClean="0"/>
              <a:t>10/4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08981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99000" y="9408981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r">
              <a:defRPr sz="1300"/>
            </a:lvl1pPr>
          </a:lstStyle>
          <a:p>
            <a:fld id="{B1EAF82C-FEC8-C94A-A2BD-186C692ACEC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4251313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99000" y="0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r">
              <a:defRPr sz="1300"/>
            </a:lvl1pPr>
          </a:lstStyle>
          <a:p>
            <a:fld id="{D719933C-C5F1-1147-A588-0123CEDC937F}" type="datetime1">
              <a:rPr lang="en-US" smtClean="0"/>
              <a:t>10/4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9700" y="742950"/>
            <a:ext cx="6604000" cy="3714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939" tIns="47969" rIns="95939" bIns="4796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8340" y="4705350"/>
            <a:ext cx="5506720" cy="4457700"/>
          </a:xfrm>
          <a:prstGeom prst="rect">
            <a:avLst/>
          </a:prstGeom>
        </p:spPr>
        <p:txBody>
          <a:bodyPr vert="horz" lIns="95939" tIns="47969" rIns="95939" bIns="47969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08981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99000" y="9408981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r">
              <a:defRPr sz="1300"/>
            </a:lvl1pPr>
          </a:lstStyle>
          <a:p>
            <a:fld id="{28671B71-4A79-7E4C-8EA9-76B1FFE20320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5260521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baseline="0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AF3DB-B6A1-2444-9DD8-53D016F8E638}" type="slidenum">
              <a:rPr lang="pt-BR" smtClean="0"/>
              <a:t>10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876042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baseline="0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AF3DB-B6A1-2444-9DD8-53D016F8E638}" type="slidenum">
              <a:rPr lang="pt-BR" smtClean="0"/>
              <a:t>1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054100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baseline="0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AF3DB-B6A1-2444-9DD8-53D016F8E638}" type="slidenum">
              <a:rPr lang="pt-BR" smtClean="0"/>
              <a:t>1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224909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0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7.png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4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7.bin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8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8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8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18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8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18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995409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323037" y="1438805"/>
            <a:ext cx="2435237" cy="886272"/>
          </a:xfrm>
          <a:prstGeom prst="rect">
            <a:avLst/>
          </a:prstGeom>
        </p:spPr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5"/>
            <a:ext cx="5180295" cy="83728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  <p:sp>
        <p:nvSpPr>
          <p:cNvPr id="23" name="Slide Number Placeholder 4"/>
          <p:cNvSpPr txBox="1">
            <a:spLocks/>
          </p:cNvSpPr>
          <p:nvPr userDrawn="1"/>
        </p:nvSpPr>
        <p:spPr>
          <a:xfrm>
            <a:off x="6612604" y="4674441"/>
            <a:ext cx="2134943" cy="273844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41" hasCustomPrompt="1"/>
          </p:nvPr>
        </p:nvSpPr>
        <p:spPr>
          <a:xfrm>
            <a:off x="323037" y="2489692"/>
            <a:ext cx="2435237" cy="387694"/>
          </a:xfrm>
          <a:prstGeom prst="rect">
            <a:avLst/>
          </a:prstGeom>
          <a:noFill/>
          <a:ln>
            <a:solidFill>
              <a:srgbClr val="FF6D00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FF6D00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42"/>
          </p:nvPr>
        </p:nvSpPr>
        <p:spPr>
          <a:xfrm>
            <a:off x="323037" y="3074433"/>
            <a:ext cx="2435237" cy="886272"/>
          </a:xfrm>
          <a:prstGeom prst="rect">
            <a:avLst/>
          </a:prstGeom>
        </p:spPr>
      </p:sp>
      <p:sp>
        <p:nvSpPr>
          <p:cNvPr id="38" name="Text Placeholder 6"/>
          <p:cNvSpPr>
            <a:spLocks noGrp="1"/>
          </p:cNvSpPr>
          <p:nvPr>
            <p:ph type="body" sz="quarter" idx="43" hasCustomPrompt="1"/>
          </p:nvPr>
        </p:nvSpPr>
        <p:spPr>
          <a:xfrm>
            <a:off x="323037" y="4125320"/>
            <a:ext cx="2435237" cy="387694"/>
          </a:xfrm>
          <a:prstGeom prst="rect">
            <a:avLst/>
          </a:prstGeom>
          <a:noFill/>
          <a:ln>
            <a:solidFill>
              <a:srgbClr val="FF6D00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FF6D00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  <p:sp>
        <p:nvSpPr>
          <p:cNvPr id="39" name="Picture Placeholder 3"/>
          <p:cNvSpPr>
            <a:spLocks noGrp="1"/>
          </p:cNvSpPr>
          <p:nvPr>
            <p:ph type="pic" sz="quarter" idx="44"/>
          </p:nvPr>
        </p:nvSpPr>
        <p:spPr>
          <a:xfrm>
            <a:off x="3080924" y="1438805"/>
            <a:ext cx="2435237" cy="886272"/>
          </a:xfrm>
          <a:prstGeom prst="rect">
            <a:avLst/>
          </a:prstGeom>
        </p:spPr>
      </p:sp>
      <p:sp>
        <p:nvSpPr>
          <p:cNvPr id="40" name="Text Placeholder 6"/>
          <p:cNvSpPr>
            <a:spLocks noGrp="1"/>
          </p:cNvSpPr>
          <p:nvPr>
            <p:ph type="body" sz="quarter" idx="45" hasCustomPrompt="1"/>
          </p:nvPr>
        </p:nvSpPr>
        <p:spPr>
          <a:xfrm>
            <a:off x="3080924" y="2489692"/>
            <a:ext cx="2435237" cy="387694"/>
          </a:xfrm>
          <a:prstGeom prst="rect">
            <a:avLst/>
          </a:prstGeom>
          <a:noFill/>
          <a:ln>
            <a:solidFill>
              <a:srgbClr val="FF6D00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FF6D00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  <p:sp>
        <p:nvSpPr>
          <p:cNvPr id="41" name="Picture Placeholder 3"/>
          <p:cNvSpPr>
            <a:spLocks noGrp="1"/>
          </p:cNvSpPr>
          <p:nvPr>
            <p:ph type="pic" sz="quarter" idx="46"/>
          </p:nvPr>
        </p:nvSpPr>
        <p:spPr>
          <a:xfrm>
            <a:off x="5830642" y="1438805"/>
            <a:ext cx="2435237" cy="886272"/>
          </a:xfrm>
          <a:prstGeom prst="rect">
            <a:avLst/>
          </a:prstGeom>
        </p:spPr>
      </p:sp>
      <p:sp>
        <p:nvSpPr>
          <p:cNvPr id="42" name="Text Placeholder 6"/>
          <p:cNvSpPr>
            <a:spLocks noGrp="1"/>
          </p:cNvSpPr>
          <p:nvPr>
            <p:ph type="body" sz="quarter" idx="47" hasCustomPrompt="1"/>
          </p:nvPr>
        </p:nvSpPr>
        <p:spPr>
          <a:xfrm>
            <a:off x="5830642" y="2489692"/>
            <a:ext cx="2435237" cy="387694"/>
          </a:xfrm>
          <a:prstGeom prst="rect">
            <a:avLst/>
          </a:prstGeom>
          <a:noFill/>
          <a:ln>
            <a:solidFill>
              <a:srgbClr val="FF6D00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FF6D00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48"/>
          </p:nvPr>
        </p:nvSpPr>
        <p:spPr>
          <a:xfrm>
            <a:off x="3080924" y="3074433"/>
            <a:ext cx="2435237" cy="886272"/>
          </a:xfrm>
          <a:prstGeom prst="rect">
            <a:avLst/>
          </a:prstGeom>
        </p:spPr>
      </p:sp>
      <p:sp>
        <p:nvSpPr>
          <p:cNvPr id="44" name="Text Placeholder 6"/>
          <p:cNvSpPr>
            <a:spLocks noGrp="1"/>
          </p:cNvSpPr>
          <p:nvPr>
            <p:ph type="body" sz="quarter" idx="49" hasCustomPrompt="1"/>
          </p:nvPr>
        </p:nvSpPr>
        <p:spPr>
          <a:xfrm>
            <a:off x="3080924" y="4125320"/>
            <a:ext cx="2435237" cy="387694"/>
          </a:xfrm>
          <a:prstGeom prst="rect">
            <a:avLst/>
          </a:prstGeom>
          <a:noFill/>
          <a:ln>
            <a:solidFill>
              <a:srgbClr val="FF6D00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FF6D00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  <p:sp>
        <p:nvSpPr>
          <p:cNvPr id="45" name="Picture Placeholder 3"/>
          <p:cNvSpPr>
            <a:spLocks noGrp="1"/>
          </p:cNvSpPr>
          <p:nvPr>
            <p:ph type="pic" sz="quarter" idx="50"/>
          </p:nvPr>
        </p:nvSpPr>
        <p:spPr>
          <a:xfrm>
            <a:off x="5830642" y="3074433"/>
            <a:ext cx="2435237" cy="886272"/>
          </a:xfrm>
          <a:prstGeom prst="rect">
            <a:avLst/>
          </a:prstGeom>
        </p:spPr>
      </p:sp>
      <p:sp>
        <p:nvSpPr>
          <p:cNvPr id="46" name="Text Placeholder 6"/>
          <p:cNvSpPr>
            <a:spLocks noGrp="1"/>
          </p:cNvSpPr>
          <p:nvPr>
            <p:ph type="body" sz="quarter" idx="51" hasCustomPrompt="1"/>
          </p:nvPr>
        </p:nvSpPr>
        <p:spPr>
          <a:xfrm>
            <a:off x="5830642" y="4125320"/>
            <a:ext cx="2435237" cy="387694"/>
          </a:xfrm>
          <a:prstGeom prst="rect">
            <a:avLst/>
          </a:prstGeom>
          <a:noFill/>
          <a:ln>
            <a:solidFill>
              <a:srgbClr val="FF6D00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FF6D00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965774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5F6F597C-7282-4B68-8635-1AB4C1CF1A07}" type="datetimeFigureOut">
              <a:rPr lang="pt-BR">
                <a:solidFill>
                  <a:prstClr val="black">
                    <a:tint val="75000"/>
                  </a:prstClr>
                </a:solidFill>
              </a:rPr>
              <a:pPr/>
              <a:t>04/10/2017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B1EA5310-A1A2-4A74-BE06-D50AF2203BA9}" type="slidenum">
              <a:rPr lang="pt-BR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1186328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5615855" cy="7842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75812020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0648765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23036" y="1384961"/>
            <a:ext cx="6981667" cy="109330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 smtClean="0"/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5"/>
            <a:ext cx="6981667" cy="9441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FF6D00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</a:t>
            </a:r>
            <a:endParaRPr lang="en-US" dirty="0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323036" y="3895412"/>
            <a:ext cx="6981667" cy="6757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 smtClean="0"/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7" name="Title 1"/>
          <p:cNvSpPr txBox="1">
            <a:spLocks/>
          </p:cNvSpPr>
          <p:nvPr userDrawn="1"/>
        </p:nvSpPr>
        <p:spPr>
          <a:xfrm>
            <a:off x="323037" y="2777766"/>
            <a:ext cx="6981667" cy="9441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 baseline="0">
                <a:solidFill>
                  <a:srgbClr val="FF6D00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dirty="0" err="1" smtClean="0">
                <a:solidFill>
                  <a:srgbClr val="EA288C"/>
                </a:solidFill>
              </a:rPr>
              <a:t>Insira</a:t>
            </a:r>
            <a:r>
              <a:rPr lang="en-US" dirty="0" smtClean="0">
                <a:solidFill>
                  <a:srgbClr val="EA288C"/>
                </a:solidFill>
              </a:rPr>
              <a:t> o </a:t>
            </a:r>
            <a:r>
              <a:rPr lang="en-US" dirty="0" err="1" smtClean="0">
                <a:solidFill>
                  <a:srgbClr val="EA288C"/>
                </a:solidFill>
              </a:rPr>
              <a:t>Título</a:t>
            </a:r>
            <a:r>
              <a:rPr lang="en-US" dirty="0" smtClean="0">
                <a:solidFill>
                  <a:srgbClr val="EA288C"/>
                </a:solidFill>
              </a:rPr>
              <a:t> do </a:t>
            </a:r>
            <a:r>
              <a:rPr lang="en-US" dirty="0" err="1" smtClean="0">
                <a:solidFill>
                  <a:srgbClr val="EA288C"/>
                </a:solidFill>
              </a:rPr>
              <a:t>projeto</a:t>
            </a:r>
            <a:r>
              <a:rPr lang="en-US" dirty="0" smtClean="0">
                <a:solidFill>
                  <a:srgbClr val="EA288C"/>
                </a:solidFill>
              </a:rPr>
              <a:t> </a:t>
            </a:r>
            <a:r>
              <a:rPr lang="en-US" dirty="0" err="1" smtClean="0">
                <a:solidFill>
                  <a:srgbClr val="EA288C"/>
                </a:solidFill>
              </a:rPr>
              <a:t>aqui</a:t>
            </a:r>
            <a:r>
              <a:rPr lang="en-US" dirty="0" smtClean="0">
                <a:solidFill>
                  <a:srgbClr val="EA288C"/>
                </a:solidFill>
              </a:rPr>
              <a:t>. </a:t>
            </a:r>
            <a:r>
              <a:rPr lang="en-US" dirty="0" err="1" smtClean="0">
                <a:solidFill>
                  <a:srgbClr val="EA288C"/>
                </a:solidFill>
              </a:rPr>
              <a:t>Lorem</a:t>
            </a:r>
            <a:r>
              <a:rPr lang="en-US" dirty="0" smtClean="0">
                <a:solidFill>
                  <a:srgbClr val="EA288C"/>
                </a:solidFill>
              </a:rPr>
              <a:t> </a:t>
            </a:r>
            <a:r>
              <a:rPr lang="en-US" dirty="0" err="1" smtClean="0">
                <a:solidFill>
                  <a:srgbClr val="EA288C"/>
                </a:solidFill>
              </a:rPr>
              <a:t>ipsum</a:t>
            </a:r>
            <a:r>
              <a:rPr lang="en-US" dirty="0" smtClean="0">
                <a:solidFill>
                  <a:srgbClr val="EA288C"/>
                </a:solidFill>
              </a:rPr>
              <a:t> dolor sit</a:t>
            </a:r>
            <a:endParaRPr lang="en-US" dirty="0">
              <a:solidFill>
                <a:srgbClr val="EA288C"/>
              </a:solidFill>
            </a:endParaRPr>
          </a:p>
        </p:txBody>
      </p:sp>
      <p:sp>
        <p:nvSpPr>
          <p:cNvPr id="18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612604" y="4674441"/>
            <a:ext cx="2134943" cy="273844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r>
              <a:rPr lang="en-US" dirty="0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1187015751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4"/>
          <p:cNvSpPr txBox="1">
            <a:spLocks/>
          </p:cNvSpPr>
          <p:nvPr userDrawn="1"/>
        </p:nvSpPr>
        <p:spPr>
          <a:xfrm>
            <a:off x="6612604" y="4674441"/>
            <a:ext cx="2134943" cy="273844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323038" y="2397054"/>
            <a:ext cx="6085552" cy="1520517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23037" y="1827189"/>
            <a:ext cx="6085553" cy="2896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23038" y="267315"/>
            <a:ext cx="6085552" cy="13192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4D4D4D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slide </a:t>
            </a:r>
            <a:r>
              <a:rPr lang="en-US" dirty="0" err="1" smtClean="0"/>
              <a:t>aqui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  <p:pic>
        <p:nvPicPr>
          <p:cNvPr id="16" name="Picture 15" descr="marca4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3101" y="3070224"/>
            <a:ext cx="1338072" cy="1289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490847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6609625"/>
              </p:ext>
            </p:extLst>
          </p:nvPr>
        </p:nvGraphicFramePr>
        <p:xfrm>
          <a:off x="2278" y="1288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0539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278" y="1288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/>
          <p:cNvSpPr/>
          <p:nvPr userDrawn="1"/>
        </p:nvSpPr>
        <p:spPr>
          <a:xfrm>
            <a:off x="0" y="20"/>
            <a:ext cx="9144000" cy="5143500"/>
          </a:xfrm>
          <a:prstGeom prst="rect">
            <a:avLst/>
          </a:prstGeom>
          <a:gradFill flip="none" rotWithShape="1">
            <a:gsLst>
              <a:gs pos="0">
                <a:srgbClr val="01B0B5"/>
              </a:gs>
              <a:gs pos="70000">
                <a:srgbClr val="009AA6"/>
              </a:gs>
              <a:gs pos="97000">
                <a:srgbClr val="00889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0270" tIns="45138" rIns="90270" bIns="45138"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pt-PT" sz="1600">
              <a:solidFill>
                <a:srgbClr val="FFFFFF"/>
              </a:solidFill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3707906" y="262993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-PT" sz="900" b="1" smtClean="0">
                <a:solidFill>
                  <a:srgbClr val="FFFFFF"/>
                </a:solidFill>
                <a:latin typeface="Arial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2" y="27941"/>
            <a:ext cx="301290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pt-PT" sz="80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3707905" y="382042"/>
            <a:ext cx="3334246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smtClean="0">
                <a:solidFill>
                  <a:srgbClr val="FFFFFF"/>
                </a:solidFill>
                <a:latin typeface="Arial"/>
              </a:rPr>
              <a:t>Last Modified 12/06/2015 13:09 E. South America Standard Time</a:t>
            </a:r>
            <a:endParaRPr lang="pt-PT" sz="90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3707904" y="502312"/>
            <a:ext cx="2423740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smtClean="0">
                <a:solidFill>
                  <a:srgbClr val="FFFFFF"/>
                </a:solidFill>
                <a:latin typeface="Arial"/>
              </a:rPr>
              <a:t>Printed 15-04-2015 17:43 Bahia Standard Time</a:t>
            </a:r>
            <a:endParaRPr lang="pt-PT" sz="900" smtClean="0">
              <a:solidFill>
                <a:srgbClr val="FFFFFF"/>
              </a:solidFill>
              <a:latin typeface="Arial"/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23" y="494"/>
            <a:ext cx="9140760" cy="5144715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2278" y="306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400" smtClean="0">
                  <a:solidFill>
                    <a:srgbClr val="FFFFFF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2278" y="327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400" smtClean="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2278" y="3665"/>
              <a:ext cx="3226" cy="20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4557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pt-PT" sz="800" smtClean="0">
                  <a:solidFill>
                    <a:srgbClr val="FFFFFF"/>
                  </a:solidFill>
                </a:rPr>
                <a:t>CONFIDENTIAL AND PROPRIETARY</a:t>
              </a:r>
            </a:p>
            <a:p>
              <a:pPr defTabSz="794557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pt-PT" sz="800" smtClean="0">
                  <a:solidFill>
                    <a:srgbClr val="FFFFFF"/>
                  </a:solidFill>
                </a:rPr>
                <a:t>Any use of this material without specific permission of McKinsey &amp; Company is strictly prohibited</a:t>
              </a:r>
              <a:endParaRPr lang="pt-PT" sz="800">
                <a:solidFill>
                  <a:srgbClr val="FFFFFF"/>
                </a:solidFill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pt-PT" sz="160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pt-PT" sz="160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pt-PT" sz="160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90" y="4930919"/>
            <a:ext cx="1670055" cy="1469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707935" y="1633211"/>
            <a:ext cx="5036084" cy="984885"/>
          </a:xfrm>
          <a:prstGeom prst="rect">
            <a:avLst/>
          </a:prstGeom>
        </p:spPr>
        <p:txBody>
          <a:bodyPr/>
          <a:lstStyle>
            <a:lvl1pPr>
              <a:defRPr sz="32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title style</a:t>
            </a:r>
            <a:endParaRPr lang="pt-PT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707935" y="2959274"/>
            <a:ext cx="5036084" cy="215444"/>
          </a:xfrm>
        </p:spPr>
        <p:txBody>
          <a:bodyPr>
            <a:spAutoFit/>
          </a:bodyPr>
          <a:lstStyle>
            <a:lvl1pPr>
              <a:defRPr sz="140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subtitle style</a:t>
            </a:r>
          </a:p>
        </p:txBody>
      </p:sp>
      <p:pic>
        <p:nvPicPr>
          <p:cNvPr id="21" name="Picture 9" descr="PPT Aqua_Bases-02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52" t="27638" r="50000" b="27725"/>
          <a:stretch>
            <a:fillRect/>
          </a:stretch>
        </p:blipFill>
        <p:spPr bwMode="auto">
          <a:xfrm>
            <a:off x="379043" y="1400677"/>
            <a:ext cx="3204044" cy="23421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048448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490" y="176168"/>
            <a:ext cx="8275764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title style</a:t>
            </a:r>
          </a:p>
        </p:txBody>
      </p:sp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29650" y="4819650"/>
            <a:ext cx="303141" cy="22180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000000"/>
                </a:solidFill>
              </a:rPr>
              <a:pPr/>
              <a:t>‹nº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48372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C328C1-A84F-4A39-A664-DBA00541A8C6}" type="slidenum">
              <a:rPr>
                <a:solidFill>
                  <a:srgbClr val="000000"/>
                </a:solidFill>
              </a:rPr>
              <a:pPr/>
              <a:t>‹nº›</a:t>
            </a:fld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246532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2699875"/>
              </p:ext>
            </p:extLst>
          </p:nvPr>
        </p:nvGraphicFramePr>
        <p:xfrm>
          <a:off x="1627" y="1216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585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7" y="1216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0">
                <a:srgbClr val="01B0B5"/>
              </a:gs>
              <a:gs pos="70000">
                <a:srgbClr val="009AA6"/>
              </a:gs>
              <a:gs pos="97000">
                <a:srgbClr val="00889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pt-PT" sz="1600">
              <a:solidFill>
                <a:srgbClr val="FFFFFF"/>
              </a:solidFill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3707904" y="262405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-PT" sz="900" b="1" smtClean="0">
                <a:solidFill>
                  <a:srgbClr val="FFFFFF"/>
                </a:solidFill>
                <a:latin typeface="Arial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2" y="27941"/>
            <a:ext cx="301290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pt-PT" sz="800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3707904" y="381456"/>
            <a:ext cx="3334246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smtClean="0">
                <a:solidFill>
                  <a:srgbClr val="FFFFFF"/>
                </a:solidFill>
                <a:latin typeface="Arial"/>
              </a:rPr>
              <a:t>Last Modified 28/08/2015 12:00 E. South America Standard Time</a:t>
            </a:r>
            <a:endParaRPr lang="pt-PT" sz="90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3707904" y="501723"/>
            <a:ext cx="3013646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smtClean="0">
                <a:solidFill>
                  <a:srgbClr val="FFFFFF"/>
                </a:solidFill>
                <a:latin typeface="Arial"/>
              </a:rPr>
              <a:t>Printed 28/08/2015 03:04 E. South America Standard Time</a:t>
            </a:r>
            <a:endParaRPr lang="pt-PT" sz="900" smtClean="0">
              <a:solidFill>
                <a:srgbClr val="FFFFFF"/>
              </a:solidFill>
              <a:latin typeface="Arial"/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7" y="6"/>
            <a:ext cx="9140760" cy="5144715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2278" y="306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400" smtClean="0">
                  <a:solidFill>
                    <a:srgbClr val="FFFFFF"/>
                  </a:solidFill>
                  <a:latin typeface="Arial"/>
                </a:rPr>
                <a:t>Document type</a:t>
              </a:r>
              <a:endParaRPr lang="pt-PT" sz="1400" dirty="0" smtClean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2278" y="327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400" smtClean="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2278" y="3665"/>
              <a:ext cx="3226" cy="20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863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pt-PT" sz="800" smtClean="0">
                  <a:solidFill>
                    <a:srgbClr val="FFFFFF"/>
                  </a:solidFill>
                </a:rPr>
                <a:t>CONFIDENTIAL AND PROPRIETARY</a:t>
              </a:r>
            </a:p>
            <a:p>
              <a:pPr defTabSz="804863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pt-PT" sz="800" smtClean="0">
                  <a:solidFill>
                    <a:srgbClr val="FFFFFF"/>
                  </a:solidFill>
                </a:rPr>
                <a:t>Any use of this material without specific permission of McKinsey &amp; Company is strictly prohibited</a:t>
              </a:r>
              <a:endParaRPr lang="pt-PT" sz="800">
                <a:solidFill>
                  <a:srgbClr val="FFFFFF"/>
                </a:solidFill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pt-PT" sz="160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pt-PT" sz="160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pt-PT" sz="160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6" y="4930909"/>
            <a:ext cx="1670055" cy="1469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707904" y="1632709"/>
            <a:ext cx="5036084" cy="984885"/>
          </a:xfrm>
          <a:prstGeom prst="rect">
            <a:avLst/>
          </a:prstGeom>
        </p:spPr>
        <p:txBody>
          <a:bodyPr/>
          <a:lstStyle>
            <a:lvl1pPr>
              <a:defRPr sz="32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title style</a:t>
            </a:r>
            <a:endParaRPr lang="pt-PT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707904" y="2959274"/>
            <a:ext cx="5036084" cy="215444"/>
          </a:xfrm>
        </p:spPr>
        <p:txBody>
          <a:bodyPr>
            <a:spAutoFit/>
          </a:bodyPr>
          <a:lstStyle>
            <a:lvl1pPr>
              <a:defRPr sz="140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subtitle style</a:t>
            </a:r>
          </a:p>
        </p:txBody>
      </p:sp>
      <p:pic>
        <p:nvPicPr>
          <p:cNvPr id="21" name="Picture 9" descr="PPT Aqua_Bases-02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52" t="27638" r="50000" b="27725"/>
          <a:stretch>
            <a:fillRect/>
          </a:stretch>
        </p:blipFill>
        <p:spPr bwMode="auto">
          <a:xfrm>
            <a:off x="250671" y="381450"/>
            <a:ext cx="3665991" cy="26798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158207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489" y="176148"/>
            <a:ext cx="8275764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title style</a:t>
            </a:r>
          </a:p>
        </p:txBody>
      </p:sp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20126" y="4810125"/>
            <a:ext cx="312492" cy="23133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000000"/>
                </a:solidFill>
              </a:rPr>
              <a:pPr/>
              <a:t>‹nº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00586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C328C1-A84F-4A39-A664-DBA00541A8C6}" type="slidenum">
              <a:rPr>
                <a:solidFill>
                  <a:srgbClr val="000000"/>
                </a:solidFill>
              </a:rPr>
              <a:pPr/>
              <a:t>‹nº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732988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304381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136658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47159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396747" y="4748981"/>
            <a:ext cx="717941" cy="239986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/>
              <a:pPr algn="ctr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83582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09936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360747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54713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96634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9"/>
          <p:cNvSpPr>
            <a:spLocks noGrp="1"/>
          </p:cNvSpPr>
          <p:nvPr>
            <p:ph type="title"/>
          </p:nvPr>
        </p:nvSpPr>
        <p:spPr>
          <a:xfrm>
            <a:off x="395385" y="274719"/>
            <a:ext cx="8208963" cy="784225"/>
          </a:xfrm>
          <a:prstGeom prst="rect">
            <a:avLst/>
          </a:prstGeom>
        </p:spPr>
        <p:txBody>
          <a:bodyPr/>
          <a:lstStyle/>
          <a:p>
            <a:r>
              <a:rPr lang="pt-BR" noProof="0" smtClean="0"/>
              <a:t>Click to edit Master title style</a:t>
            </a:r>
            <a:endParaRPr lang="pt-BR" noProof="0"/>
          </a:p>
        </p:txBody>
      </p:sp>
      <p:sp>
        <p:nvSpPr>
          <p:cNvPr id="11" name="Content Placeholder 11"/>
          <p:cNvSpPr>
            <a:spLocks noGrp="1"/>
          </p:cNvSpPr>
          <p:nvPr>
            <p:ph sz="quarter" idx="18"/>
          </p:nvPr>
        </p:nvSpPr>
        <p:spPr>
          <a:xfrm>
            <a:off x="539776" y="710331"/>
            <a:ext cx="8496300" cy="3479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546" tIns="45276" rIns="90546" bIns="45276">
            <a:spAutoFit/>
          </a:bodyPr>
          <a:lstStyle>
            <a:lvl1pPr>
              <a:buNone/>
              <a:defRPr kumimoji="0" lang="pt-BR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charset="0"/>
                <a:ea typeface="MS Gothic" charset="-128"/>
                <a:cs typeface="+mn-cs"/>
              </a:defRPr>
            </a:lvl1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9"/>
          </p:nvPr>
        </p:nvSpPr>
        <p:spPr>
          <a:xfrm>
            <a:off x="8100488" y="4866038"/>
            <a:ext cx="503859" cy="274637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483F431-8AFC-43AC-B91F-636EEDDE67EE}" type="slidenum">
              <a:rPr>
                <a:solidFill>
                  <a:srgbClr val="FFFFFF">
                    <a:lumMod val="65000"/>
                  </a:srgbClr>
                </a:solidFill>
              </a:rPr>
              <a:pPr>
                <a:defRPr/>
              </a:pPr>
              <a:t>‹nº›</a:t>
            </a:fld>
            <a:endParaRPr dirty="0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5" name="Date Placeholder 14"/>
          <p:cNvSpPr>
            <a:spLocks noGrp="1"/>
          </p:cNvSpPr>
          <p:nvPr>
            <p:ph type="dt" sz="half" idx="20"/>
          </p:nvPr>
        </p:nvSpPr>
        <p:spPr>
          <a:xfrm>
            <a:off x="517537" y="4893470"/>
            <a:ext cx="1911350" cy="250031"/>
          </a:xfrm>
          <a:prstGeom prst="rect">
            <a:avLst/>
          </a:prstGeom>
          <a:ln/>
        </p:spPr>
        <p:txBody>
          <a:bodyPr lIns="90546" tIns="45276" rIns="90546" bIns="45276"/>
          <a:lstStyle>
            <a:lvl1pPr>
              <a:defRPr/>
            </a:lvl1pPr>
          </a:lstStyle>
          <a:p>
            <a:pPr defTabSz="452709">
              <a:defRPr/>
            </a:pPr>
            <a:endParaRPr lang="pt-BR">
              <a:solidFill>
                <a:prstClr val="black"/>
              </a:solidFill>
              <a:latin typeface="Arial"/>
            </a:endParaRPr>
          </a:p>
        </p:txBody>
      </p:sp>
      <p:sp>
        <p:nvSpPr>
          <p:cNvPr id="6" name="Footer Placeholder 9"/>
          <p:cNvSpPr>
            <a:spLocks noGrp="1"/>
          </p:cNvSpPr>
          <p:nvPr>
            <p:ph type="ftr" sz="quarter" idx="21"/>
          </p:nvPr>
        </p:nvSpPr>
        <p:spPr>
          <a:xfrm>
            <a:off x="2428875" y="4894660"/>
            <a:ext cx="5500688" cy="248840"/>
          </a:xfrm>
          <a:prstGeom prst="rect">
            <a:avLst/>
          </a:prstGeom>
          <a:ln/>
        </p:spPr>
        <p:txBody>
          <a:bodyPr lIns="90546" tIns="45276" rIns="90546" bIns="45276"/>
          <a:lstStyle>
            <a:lvl1pPr>
              <a:defRPr/>
            </a:lvl1pPr>
          </a:lstStyle>
          <a:p>
            <a:pPr defTabSz="452709">
              <a:defRPr/>
            </a:pPr>
            <a:endParaRPr lang="pt-BR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9962373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892340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85972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83485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9"/>
          <p:cNvSpPr>
            <a:spLocks noGrp="1"/>
          </p:cNvSpPr>
          <p:nvPr>
            <p:ph type="title"/>
          </p:nvPr>
        </p:nvSpPr>
        <p:spPr>
          <a:xfrm>
            <a:off x="395385" y="274719"/>
            <a:ext cx="8208963" cy="784225"/>
          </a:xfrm>
          <a:prstGeom prst="rect">
            <a:avLst/>
          </a:prstGeom>
        </p:spPr>
        <p:txBody>
          <a:bodyPr/>
          <a:lstStyle/>
          <a:p>
            <a:r>
              <a:rPr lang="pt-BR" noProof="0" smtClean="0"/>
              <a:t>Click to edit Master title style</a:t>
            </a:r>
            <a:endParaRPr lang="pt-BR" noProof="0"/>
          </a:p>
        </p:txBody>
      </p:sp>
      <p:sp>
        <p:nvSpPr>
          <p:cNvPr id="11" name="Content Placeholder 11"/>
          <p:cNvSpPr>
            <a:spLocks noGrp="1"/>
          </p:cNvSpPr>
          <p:nvPr>
            <p:ph sz="quarter" idx="18"/>
          </p:nvPr>
        </p:nvSpPr>
        <p:spPr>
          <a:xfrm>
            <a:off x="539776" y="710331"/>
            <a:ext cx="8496300" cy="3479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546" tIns="45276" rIns="90546" bIns="45276">
            <a:spAutoFit/>
          </a:bodyPr>
          <a:lstStyle>
            <a:lvl1pPr>
              <a:buNone/>
              <a:defRPr kumimoji="0" lang="pt-BR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charset="0"/>
                <a:ea typeface="MS Gothic" charset="-128"/>
                <a:cs typeface="+mn-cs"/>
              </a:defRPr>
            </a:lvl1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9"/>
          </p:nvPr>
        </p:nvSpPr>
        <p:spPr>
          <a:xfrm>
            <a:off x="8100488" y="4866038"/>
            <a:ext cx="503859" cy="274637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483F431-8AFC-43AC-B91F-636EEDDE67EE}" type="slidenum">
              <a:rPr>
                <a:solidFill>
                  <a:srgbClr val="FFFFFF">
                    <a:lumMod val="65000"/>
                  </a:srgbClr>
                </a:solidFill>
              </a:rPr>
              <a:pPr>
                <a:defRPr/>
              </a:pPr>
              <a:t>‹nº›</a:t>
            </a:fld>
            <a:endParaRPr dirty="0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5" name="Date Placeholder 14"/>
          <p:cNvSpPr>
            <a:spLocks noGrp="1"/>
          </p:cNvSpPr>
          <p:nvPr>
            <p:ph type="dt" sz="half" idx="20"/>
          </p:nvPr>
        </p:nvSpPr>
        <p:spPr>
          <a:xfrm>
            <a:off x="517537" y="4893470"/>
            <a:ext cx="1911350" cy="250031"/>
          </a:xfrm>
          <a:prstGeom prst="rect">
            <a:avLst/>
          </a:prstGeom>
          <a:ln/>
        </p:spPr>
        <p:txBody>
          <a:bodyPr lIns="90546" tIns="45276" rIns="90546" bIns="45276"/>
          <a:lstStyle>
            <a:lvl1pPr>
              <a:defRPr/>
            </a:lvl1pPr>
          </a:lstStyle>
          <a:p>
            <a:pPr defTabSz="452709">
              <a:defRPr/>
            </a:pPr>
            <a:endParaRPr lang="pt-BR">
              <a:solidFill>
                <a:prstClr val="black"/>
              </a:solidFill>
              <a:latin typeface="Arial"/>
            </a:endParaRPr>
          </a:p>
        </p:txBody>
      </p:sp>
      <p:sp>
        <p:nvSpPr>
          <p:cNvPr id="6" name="Footer Placeholder 9"/>
          <p:cNvSpPr>
            <a:spLocks noGrp="1"/>
          </p:cNvSpPr>
          <p:nvPr>
            <p:ph type="ftr" sz="quarter" idx="21"/>
          </p:nvPr>
        </p:nvSpPr>
        <p:spPr>
          <a:xfrm>
            <a:off x="2428875" y="4894660"/>
            <a:ext cx="5500688" cy="248840"/>
          </a:xfrm>
          <a:prstGeom prst="rect">
            <a:avLst/>
          </a:prstGeom>
          <a:ln/>
        </p:spPr>
        <p:txBody>
          <a:bodyPr lIns="90546" tIns="45276" rIns="90546" bIns="45276"/>
          <a:lstStyle>
            <a:lvl1pPr>
              <a:defRPr/>
            </a:lvl1pPr>
          </a:lstStyle>
          <a:p>
            <a:pPr defTabSz="452709">
              <a:defRPr/>
            </a:pPr>
            <a:endParaRPr lang="pt-BR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1334971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06090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/>
              <a:pPr algn="ctr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3561272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396747" y="4748981"/>
            <a:ext cx="717941" cy="239986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64291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53334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9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6"/>
            <a:ext cx="4522527" cy="5432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smtClean="0"/>
              <a:t>Obrigado.</a:t>
            </a:r>
            <a:endParaRPr lang="en-US" dirty="0"/>
          </a:p>
        </p:txBody>
      </p:sp>
      <p:pic>
        <p:nvPicPr>
          <p:cNvPr id="5" name="Picture 4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926"/>
          <a:stretch/>
        </p:blipFill>
        <p:spPr>
          <a:xfrm>
            <a:off x="772380" y="-13295"/>
            <a:ext cx="3099195" cy="5156795"/>
          </a:xfrm>
          <a:prstGeom prst="rect">
            <a:avLst/>
          </a:prstGeom>
        </p:spPr>
      </p:pic>
      <p:pic>
        <p:nvPicPr>
          <p:cNvPr id="6" name="Picture 5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30"/>
          <a:stretch/>
        </p:blipFill>
        <p:spPr>
          <a:xfrm>
            <a:off x="5495636" y="-92364"/>
            <a:ext cx="2645075" cy="5156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070233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20544022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894424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674677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8670761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5F6F597C-7282-4B68-8635-1AB4C1CF1A07}" type="datetimeFigureOut">
              <a:rPr lang="pt-BR">
                <a:solidFill>
                  <a:prstClr val="black">
                    <a:tint val="75000"/>
                  </a:prstClr>
                </a:solidFill>
              </a:rPr>
              <a:pPr/>
              <a:t>04/10/2017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B1EA5310-A1A2-4A74-BE06-D50AF2203BA9}" type="slidenum">
              <a:rPr lang="pt-BR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144733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07690507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47789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274638"/>
            <a:ext cx="5615855" cy="7842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112489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742122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27218146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07585544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010194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438376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78383801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de-ti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168836"/>
            <a:ext cx="8229600" cy="665163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algn="l" fontAlgn="base">
              <a:lnSpc>
                <a:spcPts val="5600"/>
              </a:lnSpc>
              <a:spcAft>
                <a:spcPct val="0"/>
              </a:spcAft>
            </a:pPr>
            <a:r>
              <a:rPr lang="pt-BR" smtClean="0"/>
              <a:t>Clique para editar o título mestre</a:t>
            </a:r>
            <a:endParaRPr lang="pt-BR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86800" y="4890407"/>
            <a:ext cx="457200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pt-BR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101254"/>
            <a:ext cx="3568615" cy="1704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3"/>
                </a:solidFill>
                <a:latin typeface="Simplon Oi Headline" charset="0"/>
                <a:ea typeface="Simplon Oi Headline" charset="0"/>
                <a:cs typeface="Simplon Oi Headline" charset="0"/>
              </a:defRPr>
            </a:lvl1pPr>
          </a:lstStyle>
          <a:p>
            <a:r>
              <a:rPr lang="pt-BR" dirty="0" smtClean="0">
                <a:solidFill>
                  <a:srgbClr val="FF6D00"/>
                </a:solidFill>
              </a:rPr>
              <a:t>&lt;PROJETO XPTO&gt;</a:t>
            </a:r>
            <a:endParaRPr lang="pt-BR" dirty="0">
              <a:solidFill>
                <a:srgbClr val="FF6D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037719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76492525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986275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39211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BolhaExpandida2_laranja-16x9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0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323037" y="1835464"/>
            <a:ext cx="3803592" cy="73628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all" baseline="0">
                <a:solidFill>
                  <a:schemeClr val="bg1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 smtClean="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23038" y="267315"/>
            <a:ext cx="3803590" cy="133036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>
                <a:solidFill>
                  <a:srgbClr val="FFFF00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55657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65891823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de-ti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168836"/>
            <a:ext cx="8229600" cy="665163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algn="l" fontAlgn="base">
              <a:lnSpc>
                <a:spcPts val="5600"/>
              </a:lnSpc>
              <a:spcAft>
                <a:spcPct val="0"/>
              </a:spcAft>
            </a:pPr>
            <a:r>
              <a:rPr lang="pt-BR" smtClean="0"/>
              <a:t>Clique para editar o título mestre</a:t>
            </a:r>
            <a:endParaRPr lang="pt-BR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86800" y="4890407"/>
            <a:ext cx="457200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pt-BR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101254"/>
            <a:ext cx="3568615" cy="1704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3"/>
                </a:solidFill>
                <a:latin typeface="Simplon Oi Headline" charset="0"/>
                <a:ea typeface="Simplon Oi Headline" charset="0"/>
                <a:cs typeface="Simplon Oi Headline" charset="0"/>
              </a:defRPr>
            </a:lvl1pPr>
          </a:lstStyle>
          <a:p>
            <a:r>
              <a:rPr lang="pt-BR" dirty="0" smtClean="0">
                <a:solidFill>
                  <a:srgbClr val="FF6D00"/>
                </a:solidFill>
              </a:rPr>
              <a:t>&lt;PROJETO XPTO&gt;</a:t>
            </a:r>
            <a:endParaRPr lang="pt-BR" dirty="0">
              <a:solidFill>
                <a:srgbClr val="FF6D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809864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pt-PT" dirty="0" smtClean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4811667" y="274639"/>
            <a:ext cx="3864021" cy="46473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>
              <a:lnSpc>
                <a:spcPts val="4200"/>
              </a:lnSpc>
              <a:spcBef>
                <a:spcPts val="0"/>
              </a:spcBef>
            </a:pPr>
            <a:r>
              <a:rPr lang="pt-BR" sz="2100" i="0" dirty="0" smtClean="0">
                <a:solidFill>
                  <a:srgbClr val="9F37FE"/>
                </a:solidFill>
                <a:latin typeface="Simplon BP Bold"/>
                <a:cs typeface="Simplon BP Bold"/>
              </a:rPr>
              <a:t>SUMÁRIO EXECUTIVO</a:t>
            </a:r>
            <a:endParaRPr lang="en-US" sz="2100" i="0" dirty="0">
              <a:solidFill>
                <a:srgbClr val="9F37FE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8313" y="1058863"/>
            <a:ext cx="3887787" cy="3180758"/>
          </a:xfrm>
        </p:spPr>
        <p:txBody>
          <a:bodyPr/>
          <a:lstStyle>
            <a:lvl1pPr marL="0" indent="0">
              <a:buNone/>
              <a:defRPr/>
            </a:lvl1pPr>
            <a:lvl2pPr marL="188912" indent="0">
              <a:buNone/>
              <a:defRPr/>
            </a:lvl2pPr>
            <a:lvl3pPr marL="365125" indent="0">
              <a:buNone/>
              <a:defRPr/>
            </a:lvl3pPr>
            <a:lvl4pPr marL="541337" indent="0">
              <a:buNone/>
              <a:defRPr/>
            </a:lvl4pPr>
            <a:lvl5pPr marL="717550" indent="0">
              <a:buNone/>
              <a:defRPr/>
            </a:lvl5pPr>
          </a:lstStyle>
          <a:p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endParaRPr lang="en-US" sz="14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811713" y="1058863"/>
            <a:ext cx="3863975" cy="3180758"/>
          </a:xfrm>
        </p:spPr>
        <p:txBody>
          <a:bodyPr/>
          <a:lstStyle>
            <a:lvl1pPr marL="0" indent="0">
              <a:buNone/>
              <a:defRPr sz="2100"/>
            </a:lvl1pPr>
            <a:lvl2pPr marL="188912" indent="0">
              <a:buNone/>
              <a:defRPr sz="2100"/>
            </a:lvl2pPr>
            <a:lvl3pPr marL="365125" indent="0">
              <a:buNone/>
              <a:defRPr sz="2100"/>
            </a:lvl3pPr>
            <a:lvl4pPr marL="541337" indent="0">
              <a:buNone/>
              <a:defRPr sz="2100"/>
            </a:lvl4pPr>
            <a:lvl5pPr marL="717550" indent="0">
              <a:buNone/>
              <a:defRPr sz="2100"/>
            </a:lvl5pPr>
          </a:lstStyle>
          <a:p>
            <a:pPr lvl="0"/>
            <a:r>
              <a:rPr lang="pt-PT" dirty="0" smtClean="0"/>
              <a:t>3. </a:t>
            </a:r>
            <a:r>
              <a:rPr lang="pt-PT" dirty="0" err="1" smtClean="0"/>
              <a:t>Im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5.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10.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endParaRPr lang="pt-PT" dirty="0" smtClean="0"/>
          </a:p>
          <a:p>
            <a:pPr lvl="0"/>
            <a:r>
              <a:rPr lang="pt-PT" dirty="0" smtClean="0"/>
              <a:t>15.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68312" y="4478746"/>
            <a:ext cx="2735536" cy="36004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/>
          <a:p>
            <a:pPr>
              <a:lnSpc>
                <a:spcPts val="1800"/>
              </a:lnSpc>
            </a:pPr>
            <a:r>
              <a:rPr lang="pt-BR" sz="2100" dirty="0" smtClean="0">
                <a:solidFill>
                  <a:srgbClr val="9F37FE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100" dirty="0" smtClean="0">
              <a:solidFill>
                <a:srgbClr val="9F37FE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915618" y="4478746"/>
            <a:ext cx="576262" cy="360040"/>
          </a:xfrm>
          <a:noFill/>
        </p:spPr>
        <p:txBody>
          <a:bodyPr wrap="none" lIns="36000" tIns="36000" rIns="36000" bIns="36000" rtlCol="0" anchor="ctr" anchorCtr="0">
            <a:noAutofit/>
          </a:bodyPr>
          <a:lstStyle>
            <a:lvl1pPr marL="0" indent="0">
              <a:buNone/>
              <a:defRPr lang="en-US" sz="2100" dirty="0">
                <a:solidFill>
                  <a:schemeClr val="accent1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1800"/>
              </a:lnSpc>
              <a:spcAft>
                <a:spcPts val="0"/>
              </a:spcAft>
            </a:pPr>
            <a:r>
              <a:rPr lang="pt-PT" dirty="0" smtClean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113770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787900" y="274638"/>
            <a:ext cx="3887787" cy="46021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128382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787900" y="274638"/>
            <a:ext cx="3898900" cy="4602162"/>
          </a:xfrm>
        </p:spPr>
        <p:txBody>
          <a:bodyPr/>
          <a:lstStyle>
            <a:lvl1pPr marL="233363" indent="-233363">
              <a:buFont typeface="Arial" charset="0"/>
              <a:buChar char="•"/>
              <a:tabLst/>
              <a:defRPr sz="2100">
                <a:solidFill>
                  <a:schemeClr val="tx1"/>
                </a:solidFill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ips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.</a:t>
            </a:r>
          </a:p>
          <a:p>
            <a:pPr lvl="0"/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123931479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9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6"/>
            <a:ext cx="4522527" cy="5432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smtClean="0"/>
              <a:t>Obrigado.</a:t>
            </a:r>
            <a:endParaRPr lang="en-US" dirty="0"/>
          </a:p>
        </p:txBody>
      </p:sp>
      <p:pic>
        <p:nvPicPr>
          <p:cNvPr id="5" name="Picture 4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926"/>
          <a:stretch/>
        </p:blipFill>
        <p:spPr>
          <a:xfrm>
            <a:off x="772380" y="-13295"/>
            <a:ext cx="3099195" cy="5156795"/>
          </a:xfrm>
          <a:prstGeom prst="rect">
            <a:avLst/>
          </a:prstGeom>
        </p:spPr>
      </p:pic>
      <p:pic>
        <p:nvPicPr>
          <p:cNvPr id="6" name="Picture 5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30"/>
          <a:stretch/>
        </p:blipFill>
        <p:spPr>
          <a:xfrm>
            <a:off x="5495636" y="-92364"/>
            <a:ext cx="2645075" cy="5156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931610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21347669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109945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535478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05060365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bg>
      <p:bgPr>
        <a:gradFill flip="none" rotWithShape="1">
          <a:gsLst>
            <a:gs pos="100000">
              <a:srgbClr val="FFFF00"/>
            </a:gs>
            <a:gs pos="0">
              <a:srgbClr val="EA288C"/>
            </a:gs>
            <a:gs pos="50000">
              <a:srgbClr val="FF6D00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612604" y="4674441"/>
            <a:ext cx="2134943" cy="273844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FFFFFF"/>
                </a:solidFill>
              </a:defRPr>
            </a:lvl1pPr>
          </a:lstStyle>
          <a:p>
            <a:r>
              <a:rPr lang="en-US" dirty="0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0419" y="965607"/>
            <a:ext cx="3425825" cy="227488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FontTx/>
              <a:buNone/>
              <a:defRPr sz="1400" baseline="0">
                <a:solidFill>
                  <a:schemeClr val="bg1"/>
                </a:solidFill>
                <a:latin typeface="Simplon BP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5357758" y="965607"/>
            <a:ext cx="3425825" cy="227488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342900" indent="-342900">
              <a:lnSpc>
                <a:spcPts val="1400"/>
              </a:lnSpc>
              <a:spcBef>
                <a:spcPts val="0"/>
              </a:spcBef>
              <a:buClr>
                <a:srgbClr val="FFFF00"/>
              </a:buClr>
              <a:buFont typeface="+mj-lt"/>
              <a:buAutoNum type="arabicPeriod"/>
              <a:defRPr sz="1400" cap="all" baseline="0">
                <a:solidFill>
                  <a:schemeClr val="bg1"/>
                </a:solidFill>
                <a:latin typeface="Simplon BP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 smtClean="0"/>
              <a:t>ipsum</a:t>
            </a: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323038" y="267315"/>
            <a:ext cx="3803590" cy="4390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>
                <a:solidFill>
                  <a:srgbClr val="FFFF00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>
                <a:solidFill>
                  <a:srgbClr val="FFFF00"/>
                </a:solidFill>
              </a:rPr>
              <a:t>Sumário</a:t>
            </a:r>
            <a:endParaRPr lang="en-US" dirty="0">
              <a:solidFill>
                <a:srgbClr val="FFFF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852942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298082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396747" y="4748981"/>
            <a:ext cx="717941" cy="239986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19349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77516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9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6"/>
            <a:ext cx="4522527" cy="5432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smtClean="0"/>
              <a:t>Obrigado.</a:t>
            </a:r>
            <a:endParaRPr lang="en-US" dirty="0"/>
          </a:p>
        </p:txBody>
      </p:sp>
      <p:pic>
        <p:nvPicPr>
          <p:cNvPr id="5" name="Picture 4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926"/>
          <a:stretch/>
        </p:blipFill>
        <p:spPr>
          <a:xfrm>
            <a:off x="772380" y="-13295"/>
            <a:ext cx="3099195" cy="5156795"/>
          </a:xfrm>
          <a:prstGeom prst="rect">
            <a:avLst/>
          </a:prstGeom>
        </p:spPr>
      </p:pic>
      <p:pic>
        <p:nvPicPr>
          <p:cNvPr id="6" name="Picture 5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30"/>
          <a:stretch/>
        </p:blipFill>
        <p:spPr>
          <a:xfrm>
            <a:off x="5495636" y="-92364"/>
            <a:ext cx="2645075" cy="5156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190301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274638"/>
            <a:ext cx="5327823" cy="7842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242404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65087088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473803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787805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93268393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de-ti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168836"/>
            <a:ext cx="8229600" cy="665163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algn="l" fontAlgn="base">
              <a:lnSpc>
                <a:spcPts val="5600"/>
              </a:lnSpc>
              <a:spcAft>
                <a:spcPct val="0"/>
              </a:spcAft>
            </a:pPr>
            <a:r>
              <a:rPr lang="pt-BR" smtClean="0"/>
              <a:t>Clique para editar o título mestre</a:t>
            </a:r>
            <a:endParaRPr lang="pt-BR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86800" y="4890407"/>
            <a:ext cx="457200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pt-BR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101254"/>
            <a:ext cx="3568615" cy="1704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3"/>
                </a:solidFill>
                <a:latin typeface="Simplon Oi Headline" charset="0"/>
                <a:ea typeface="Simplon Oi Headline" charset="0"/>
                <a:cs typeface="Simplon Oi Headline" charset="0"/>
              </a:defRPr>
            </a:lvl1pPr>
          </a:lstStyle>
          <a:p>
            <a:r>
              <a:rPr lang="pt-BR" dirty="0" smtClean="0">
                <a:solidFill>
                  <a:srgbClr val="FF6D00"/>
                </a:solidFill>
              </a:rPr>
              <a:t>&lt;PROJETO XPTO&gt;</a:t>
            </a:r>
            <a:endParaRPr lang="pt-BR" dirty="0">
              <a:solidFill>
                <a:srgbClr val="FF6D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748595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5"/>
            <a:ext cx="5164815" cy="194510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>
                <a:solidFill>
                  <a:srgbClr val="4D4D4D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612604" y="4674441"/>
            <a:ext cx="2134943" cy="273844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r>
              <a:rPr lang="en-US" dirty="0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323036" y="2350776"/>
            <a:ext cx="5164815" cy="60936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373188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488564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396747" y="4748981"/>
            <a:ext cx="717941" cy="239986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80947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02579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489" y="176148"/>
            <a:ext cx="827576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title style</a:t>
            </a:r>
          </a:p>
        </p:txBody>
      </p:sp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22890" y="4817806"/>
            <a:ext cx="309727" cy="22365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000000"/>
                </a:solidFill>
              </a:rPr>
              <a:pPr/>
              <a:t>‹nº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46459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de -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57200" y="1744663"/>
            <a:ext cx="8229600" cy="284996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 dirty="0" smtClean="0"/>
              <a:t>Clique para editar 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57200" y="168836"/>
            <a:ext cx="8229600" cy="665163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2400"/>
            </a:lvl1pPr>
          </a:lstStyle>
          <a:p>
            <a:pPr lvl="0" algn="l" fontAlgn="base">
              <a:lnSpc>
                <a:spcPts val="5600"/>
              </a:lnSpc>
              <a:spcAft>
                <a:spcPct val="0"/>
              </a:spcAft>
            </a:pPr>
            <a:r>
              <a:rPr lang="pt-BR" dirty="0" smtClean="0"/>
              <a:t>Clique para editar o título mestre</a:t>
            </a:r>
            <a:endParaRPr lang="pt-BR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65574" y="4758813"/>
            <a:ext cx="570271" cy="3218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101254"/>
            <a:ext cx="3568615" cy="1704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3"/>
                </a:solidFill>
                <a:latin typeface="Simplon Oi Headline" charset="0"/>
                <a:ea typeface="Simplon Oi Headline" charset="0"/>
                <a:cs typeface="Simplon Oi Headline" charset="0"/>
              </a:defRPr>
            </a:lvl1pPr>
          </a:lstStyle>
          <a:p>
            <a:r>
              <a:rPr lang="pt-BR" dirty="0" smtClean="0">
                <a:solidFill>
                  <a:srgbClr val="E4D700"/>
                </a:solidFill>
              </a:rPr>
              <a:t>&lt;PROJETO XPTO&gt;</a:t>
            </a:r>
            <a:endParaRPr lang="pt-BR" dirty="0">
              <a:solidFill>
                <a:srgbClr val="E4D7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14759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9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6"/>
            <a:ext cx="4522527" cy="5432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smtClean="0"/>
              <a:t>Obrigado.</a:t>
            </a:r>
            <a:endParaRPr lang="en-US" dirty="0"/>
          </a:p>
        </p:txBody>
      </p:sp>
      <p:pic>
        <p:nvPicPr>
          <p:cNvPr id="5" name="Picture 4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926"/>
          <a:stretch/>
        </p:blipFill>
        <p:spPr>
          <a:xfrm>
            <a:off x="772380" y="-13295"/>
            <a:ext cx="3099195" cy="5156795"/>
          </a:xfrm>
          <a:prstGeom prst="rect">
            <a:avLst/>
          </a:prstGeom>
        </p:spPr>
      </p:pic>
      <p:pic>
        <p:nvPicPr>
          <p:cNvPr id="6" name="Picture 5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30"/>
          <a:stretch/>
        </p:blipFill>
        <p:spPr>
          <a:xfrm>
            <a:off x="5495636" y="-92364"/>
            <a:ext cx="2645075" cy="5156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742769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506165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6955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80993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889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23037" y="1438804"/>
            <a:ext cx="2729159" cy="2348188"/>
          </a:xfrm>
          <a:prstGeom prst="rect">
            <a:avLst/>
          </a:prstGeom>
        </p:spPr>
      </p:sp>
      <p:sp>
        <p:nvSpPr>
          <p:cNvPr id="10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3383230" y="1438804"/>
            <a:ext cx="4882650" cy="2348188"/>
          </a:xfrm>
          <a:prstGeom prst="rect">
            <a:avLst/>
          </a:prstGeom>
        </p:spPr>
      </p:sp>
      <p:sp>
        <p:nvSpPr>
          <p:cNvPr id="14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4936190" y="4802871"/>
            <a:ext cx="2134943" cy="273844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r>
              <a:rPr lang="en-US" dirty="0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323037" y="4125320"/>
            <a:ext cx="2729159" cy="387694"/>
          </a:xfrm>
          <a:prstGeom prst="rect">
            <a:avLst/>
          </a:prstGeom>
          <a:noFill/>
          <a:ln>
            <a:solidFill>
              <a:srgbClr val="FF6D00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FF6D00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5"/>
            <a:ext cx="5180295" cy="83728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  <p:sp>
        <p:nvSpPr>
          <p:cNvPr id="15" name="Slide Number Placeholder 4"/>
          <p:cNvSpPr txBox="1">
            <a:spLocks/>
          </p:cNvSpPr>
          <p:nvPr userDrawn="1"/>
        </p:nvSpPr>
        <p:spPr>
          <a:xfrm>
            <a:off x="6612604" y="4674441"/>
            <a:ext cx="2134943" cy="273844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3383230" y="4125320"/>
            <a:ext cx="4882650" cy="387694"/>
          </a:xfrm>
          <a:prstGeom prst="rect">
            <a:avLst/>
          </a:prstGeom>
          <a:noFill/>
          <a:ln>
            <a:solidFill>
              <a:srgbClr val="FF6D00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FF6D00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6812806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84225"/>
          </a:xfrm>
          <a:prstGeom prst="rect">
            <a:avLst/>
          </a:prstGeo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1F497D"/>
                </a:solidFill>
              </a:rPr>
              <a:t>MATERIAL CONFIDENCIAL  |  SLIDE Nº</a:t>
            </a:r>
            <a:endParaRPr lang="pt-BR" dirty="0">
              <a:solidFill>
                <a:srgbClr val="1F497D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1F497D"/>
                </a:solidFill>
              </a:rPr>
              <a:pPr/>
              <a:t>‹nº›</a:t>
            </a:fld>
            <a:endParaRPr lang="pt-BR" dirty="0">
              <a:solidFill>
                <a:srgbClr val="1F497D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3943424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68313" y="274638"/>
            <a:ext cx="5615855" cy="7842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t-BR" smtClean="0"/>
              <a:t>Clique para editar estilo d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7392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323037" y="2179939"/>
            <a:ext cx="4268026" cy="119562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45718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8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5718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5718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23037" y="1370193"/>
            <a:ext cx="3803592" cy="56124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189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23039" y="267317"/>
            <a:ext cx="3803590" cy="9441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>
                <a:solidFill>
                  <a:srgbClr val="00D318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  <p:sp>
        <p:nvSpPr>
          <p:cNvPr id="1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612606" y="4674441"/>
            <a:ext cx="2134943" cy="273844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pPr defTabSz="457189"/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defTabSz="457189"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400968400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penas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ítulo 1"/>
          <p:cNvSpPr>
            <a:spLocks noGrp="1"/>
          </p:cNvSpPr>
          <p:nvPr>
            <p:ph type="title"/>
          </p:nvPr>
        </p:nvSpPr>
        <p:spPr>
          <a:xfrm>
            <a:off x="251522" y="309787"/>
            <a:ext cx="7776863" cy="207749"/>
          </a:xfrm>
          <a:prstGeom prst="rect">
            <a:avLst/>
          </a:prstGeom>
        </p:spPr>
        <p:txBody>
          <a:bodyPr/>
          <a:lstStyle>
            <a:lvl1pPr>
              <a:defRPr sz="1350" b="1">
                <a:solidFill>
                  <a:srgbClr val="009AA6"/>
                </a:solidFill>
              </a:defRPr>
            </a:lvl1pPr>
          </a:lstStyle>
          <a:p>
            <a:r>
              <a:rPr lang="pt-BR" dirty="0" smtClean="0"/>
              <a:t>Clique para editar o estilo do título mestre</a:t>
            </a:r>
            <a:endParaRPr lang="pt-BR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8719603" y="4924835"/>
            <a:ext cx="213009" cy="116622"/>
          </a:xfrm>
          <a:prstGeom prst="rect">
            <a:avLst/>
          </a:prstGeom>
        </p:spPr>
        <p:txBody>
          <a:bodyPr/>
          <a:lstStyle>
            <a:lvl1pPr algn="r">
              <a:lnSpc>
                <a:spcPct val="80000"/>
              </a:lnSpc>
              <a:defRPr sz="825" smtClean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88723889-CC3D-43B0-8E0A-03E600D31C56}" type="slidenum">
              <a:rPr lang="en-US">
                <a:solidFill>
                  <a:prstClr val="white">
                    <a:lumMod val="50000"/>
                  </a:prstClr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433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651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744663"/>
            <a:ext cx="8229600" cy="2849960"/>
          </a:xfrm>
          <a:prstGeom prst="rect">
            <a:avLst/>
          </a:prstGeom>
        </p:spPr>
        <p:txBody>
          <a:bodyPr lIns="68589" tIns="34295" rIns="68589" bIns="34295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BR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75876" y="411833"/>
            <a:ext cx="8210924" cy="727993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eaLnBrk="1" latinLnBrk="0" hangingPunct="1">
              <a:lnSpc>
                <a:spcPts val="5599"/>
              </a:lnSpc>
              <a:spcBef>
                <a:spcPct val="0"/>
              </a:spcBef>
              <a:defRPr lang="pt-BR">
                <a:solidFill>
                  <a:schemeClr val="tx2"/>
                </a:solidFill>
              </a:defRPr>
            </a:lvl1pPr>
          </a:lstStyle>
          <a:p>
            <a:pPr marL="0" lvl="0" eaLnBrk="1" latinLnBrk="0" hangingPunct="1">
              <a:lnSpc>
                <a:spcPts val="5599"/>
              </a:lnSpc>
              <a:spcBef>
                <a:spcPct val="0"/>
              </a:spcBef>
            </a:pPr>
            <a:r>
              <a:rPr lang="es-ES_tradnl" dirty="0" err="1" smtClean="0"/>
              <a:t>Click</a:t>
            </a:r>
            <a:r>
              <a:rPr lang="es-ES_tradnl" dirty="0" smtClean="0"/>
              <a:t> </a:t>
            </a:r>
            <a:r>
              <a:rPr lang="es-ES_tradnl" dirty="0" err="1" smtClean="0"/>
              <a:t>to</a:t>
            </a:r>
            <a:r>
              <a:rPr lang="es-ES_tradnl" dirty="0" smtClean="0"/>
              <a:t> </a:t>
            </a:r>
            <a:r>
              <a:rPr lang="es-ES_tradnl" dirty="0" err="1" smtClean="0"/>
              <a:t>edit</a:t>
            </a:r>
            <a:r>
              <a:rPr lang="es-ES_tradnl" dirty="0" smtClean="0"/>
              <a:t> </a:t>
            </a:r>
            <a:r>
              <a:rPr lang="es-ES_tradnl" dirty="0" err="1" smtClean="0"/>
              <a:t>Titl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258126732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9"/>
          <p:cNvSpPr>
            <a:spLocks noGrp="1"/>
          </p:cNvSpPr>
          <p:nvPr>
            <p:ph type="title"/>
          </p:nvPr>
        </p:nvSpPr>
        <p:spPr>
          <a:xfrm>
            <a:off x="395290" y="274648"/>
            <a:ext cx="8208963" cy="784225"/>
          </a:xfrm>
          <a:prstGeom prst="rect">
            <a:avLst/>
          </a:prstGeom>
        </p:spPr>
        <p:txBody>
          <a:bodyPr/>
          <a:lstStyle/>
          <a:p>
            <a:r>
              <a:rPr lang="pt-BR" noProof="0"/>
              <a:t>Click to edit Master title style</a:t>
            </a:r>
          </a:p>
        </p:txBody>
      </p:sp>
      <p:sp>
        <p:nvSpPr>
          <p:cNvPr id="11" name="Content Placeholder 11"/>
          <p:cNvSpPr>
            <a:spLocks noGrp="1"/>
          </p:cNvSpPr>
          <p:nvPr>
            <p:ph sz="quarter" idx="18"/>
          </p:nvPr>
        </p:nvSpPr>
        <p:spPr>
          <a:xfrm>
            <a:off x="539751" y="710331"/>
            <a:ext cx="8496300" cy="348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>
            <a:lvl1pPr>
              <a:buNone/>
              <a:defRPr kumimoji="0" lang="pt-BR" sz="13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charset="0"/>
                <a:ea typeface="MS Gothic" charset="-128"/>
                <a:cs typeface="+mn-cs"/>
              </a:defRPr>
            </a:lvl1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9"/>
          </p:nvPr>
        </p:nvSpPr>
        <p:spPr>
          <a:xfrm>
            <a:off x="8100394" y="4865968"/>
            <a:ext cx="503859" cy="274637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342900" fontAlgn="base">
              <a:spcBef>
                <a:spcPct val="0"/>
              </a:spcBef>
              <a:spcAft>
                <a:spcPct val="0"/>
              </a:spcAft>
              <a:defRPr/>
            </a:pPr>
            <a:fld id="{C483F431-8AFC-43AC-B91F-636EEDDE67EE}" type="slidenum">
              <a:rPr lang="en-US" smtClean="0">
                <a:solidFill>
                  <a:srgbClr val="FFFFFF">
                    <a:lumMod val="65000"/>
                  </a:srgbClr>
                </a:solidFill>
                <a:cs typeface="Arial" panose="020B0604020202020204" pitchFamily="34" charset="0"/>
              </a:rPr>
              <a:pPr defTabSz="3429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en-US" dirty="0">
              <a:solidFill>
                <a:srgbClr val="FFFFFF">
                  <a:lumMod val="65000"/>
                </a:srgbClr>
              </a:solidFill>
              <a:cs typeface="Arial" panose="020B0604020202020204" pitchFamily="34" charset="0"/>
            </a:endParaRPr>
          </a:p>
        </p:txBody>
      </p:sp>
      <p:sp>
        <p:nvSpPr>
          <p:cNvPr id="5" name="Date Placeholder 14"/>
          <p:cNvSpPr>
            <a:spLocks noGrp="1"/>
          </p:cNvSpPr>
          <p:nvPr>
            <p:ph type="dt" sz="half" idx="20"/>
          </p:nvPr>
        </p:nvSpPr>
        <p:spPr>
          <a:xfrm>
            <a:off x="517526" y="4893471"/>
            <a:ext cx="1911350" cy="250031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3714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pt-BR" smtClean="0">
                <a:solidFill>
                  <a:prstClr val="black"/>
                </a:solidFill>
                <a:cs typeface="Arial" panose="020B0604020202020204" pitchFamily="34" charset="0"/>
              </a:rPr>
              <a:t>De dd/mm/aaaa a dd/mm/aaaa</a:t>
            </a:r>
            <a:endParaRPr lang="pt-BR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6" name="Footer Placeholder 9"/>
          <p:cNvSpPr>
            <a:spLocks noGrp="1"/>
          </p:cNvSpPr>
          <p:nvPr>
            <p:ph type="ftr" sz="quarter" idx="21"/>
          </p:nvPr>
        </p:nvSpPr>
        <p:spPr>
          <a:xfrm>
            <a:off x="2428876" y="4894661"/>
            <a:ext cx="5500688" cy="24884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3714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pt-BR" smtClean="0">
                <a:solidFill>
                  <a:prstClr val="black"/>
                </a:solidFill>
                <a:cs typeface="Arial" panose="020B0604020202020204" pitchFamily="34" charset="0"/>
              </a:rPr>
              <a:t>Relatório de Progresso - PRJ#1</a:t>
            </a:r>
            <a:endParaRPr lang="pt-BR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013398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252129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501610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11942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85328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icture Placeholder 3"/>
          <p:cNvSpPr>
            <a:spLocks noGrp="1"/>
          </p:cNvSpPr>
          <p:nvPr>
            <p:ph type="pic" sz="quarter" idx="38"/>
          </p:nvPr>
        </p:nvSpPr>
        <p:spPr>
          <a:xfrm>
            <a:off x="5830642" y="1438804"/>
            <a:ext cx="2435237" cy="2348188"/>
          </a:xfrm>
          <a:prstGeom prst="rect">
            <a:avLst/>
          </a:prstGeom>
        </p:spPr>
      </p:sp>
      <p:sp>
        <p:nvSpPr>
          <p:cNvPr id="11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323037" y="1438804"/>
            <a:ext cx="2435237" cy="2348188"/>
          </a:xfrm>
          <a:prstGeom prst="rect">
            <a:avLst/>
          </a:prstGeom>
        </p:spPr>
      </p:sp>
      <p:sp>
        <p:nvSpPr>
          <p:cNvPr id="13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323037" y="4125320"/>
            <a:ext cx="2435237" cy="387694"/>
          </a:xfrm>
          <a:prstGeom prst="rect">
            <a:avLst/>
          </a:prstGeom>
          <a:noFill/>
          <a:ln>
            <a:solidFill>
              <a:srgbClr val="EA288C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EA288C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5"/>
            <a:ext cx="5180295" cy="83728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>
                <a:solidFill>
                  <a:srgbClr val="FF6D00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  <p:sp>
        <p:nvSpPr>
          <p:cNvPr id="16" name="Slide Number Placeholder 4"/>
          <p:cNvSpPr txBox="1">
            <a:spLocks/>
          </p:cNvSpPr>
          <p:nvPr userDrawn="1"/>
        </p:nvSpPr>
        <p:spPr>
          <a:xfrm>
            <a:off x="6612604" y="4674441"/>
            <a:ext cx="2134943" cy="273844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3080924" y="1438804"/>
            <a:ext cx="2435237" cy="2348188"/>
          </a:xfrm>
          <a:prstGeom prst="rect">
            <a:avLst/>
          </a:prstGeom>
        </p:spPr>
      </p:sp>
      <p:sp>
        <p:nvSpPr>
          <p:cNvPr id="24" name="Text Placeholder 6"/>
          <p:cNvSpPr>
            <a:spLocks noGrp="1"/>
          </p:cNvSpPr>
          <p:nvPr>
            <p:ph type="body" sz="quarter" idx="39" hasCustomPrompt="1"/>
          </p:nvPr>
        </p:nvSpPr>
        <p:spPr>
          <a:xfrm>
            <a:off x="3080924" y="4125320"/>
            <a:ext cx="2435237" cy="387694"/>
          </a:xfrm>
          <a:prstGeom prst="rect">
            <a:avLst/>
          </a:prstGeom>
          <a:noFill/>
          <a:ln>
            <a:solidFill>
              <a:srgbClr val="EA288C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EA288C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40" hasCustomPrompt="1"/>
          </p:nvPr>
        </p:nvSpPr>
        <p:spPr>
          <a:xfrm>
            <a:off x="5830642" y="4125320"/>
            <a:ext cx="2435237" cy="387694"/>
          </a:xfrm>
          <a:prstGeom prst="rect">
            <a:avLst/>
          </a:prstGeom>
          <a:noFill/>
          <a:ln>
            <a:solidFill>
              <a:srgbClr val="EA288C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EA288C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894969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92438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827595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791619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631417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pt-PT" dirty="0" smtClean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4811667" y="274639"/>
            <a:ext cx="3864021" cy="46473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>
              <a:lnSpc>
                <a:spcPts val="4200"/>
              </a:lnSpc>
              <a:spcBef>
                <a:spcPts val="0"/>
              </a:spcBef>
            </a:pPr>
            <a:r>
              <a:rPr lang="pt-BR" sz="2100" i="0" dirty="0" smtClean="0">
                <a:solidFill>
                  <a:srgbClr val="9F37FE"/>
                </a:solidFill>
                <a:latin typeface="Simplon BP Bold"/>
                <a:cs typeface="Simplon BP Bold"/>
              </a:rPr>
              <a:t>SUMÁRIO EXECUTIVO</a:t>
            </a:r>
            <a:endParaRPr lang="en-US" sz="2100" i="0" dirty="0">
              <a:solidFill>
                <a:srgbClr val="9F37FE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8313" y="1058863"/>
            <a:ext cx="3887787" cy="3180758"/>
          </a:xfrm>
        </p:spPr>
        <p:txBody>
          <a:bodyPr/>
          <a:lstStyle>
            <a:lvl1pPr marL="0" indent="0">
              <a:buNone/>
              <a:defRPr/>
            </a:lvl1pPr>
            <a:lvl2pPr marL="188912" indent="0">
              <a:buNone/>
              <a:defRPr/>
            </a:lvl2pPr>
            <a:lvl3pPr marL="365125" indent="0">
              <a:buNone/>
              <a:defRPr/>
            </a:lvl3pPr>
            <a:lvl4pPr marL="541337" indent="0">
              <a:buNone/>
              <a:defRPr/>
            </a:lvl4pPr>
            <a:lvl5pPr marL="717550" indent="0">
              <a:buNone/>
              <a:defRPr/>
            </a:lvl5pPr>
          </a:lstStyle>
          <a:p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endParaRPr lang="en-US" sz="14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811713" y="1058863"/>
            <a:ext cx="3863975" cy="3180758"/>
          </a:xfrm>
        </p:spPr>
        <p:txBody>
          <a:bodyPr/>
          <a:lstStyle>
            <a:lvl1pPr marL="0" indent="0">
              <a:buNone/>
              <a:defRPr sz="2100"/>
            </a:lvl1pPr>
            <a:lvl2pPr marL="188912" indent="0">
              <a:buNone/>
              <a:defRPr sz="2100"/>
            </a:lvl2pPr>
            <a:lvl3pPr marL="365125" indent="0">
              <a:buNone/>
              <a:defRPr sz="2100"/>
            </a:lvl3pPr>
            <a:lvl4pPr marL="541337" indent="0">
              <a:buNone/>
              <a:defRPr sz="2100"/>
            </a:lvl4pPr>
            <a:lvl5pPr marL="717550" indent="0">
              <a:buNone/>
              <a:defRPr sz="2100"/>
            </a:lvl5pPr>
          </a:lstStyle>
          <a:p>
            <a:pPr lvl="0"/>
            <a:r>
              <a:rPr lang="pt-PT" dirty="0" smtClean="0"/>
              <a:t>3. </a:t>
            </a:r>
            <a:r>
              <a:rPr lang="pt-PT" dirty="0" err="1" smtClean="0"/>
              <a:t>Im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5.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10.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endParaRPr lang="pt-PT" dirty="0" smtClean="0"/>
          </a:p>
          <a:p>
            <a:pPr lvl="0"/>
            <a:r>
              <a:rPr lang="pt-PT" dirty="0" smtClean="0"/>
              <a:t>15.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68312" y="4478746"/>
            <a:ext cx="2735536" cy="36004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/>
          <a:p>
            <a:pPr>
              <a:lnSpc>
                <a:spcPts val="1800"/>
              </a:lnSpc>
            </a:pPr>
            <a:r>
              <a:rPr lang="pt-BR" sz="2100" dirty="0" smtClean="0">
                <a:solidFill>
                  <a:srgbClr val="9F37FE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100" dirty="0" smtClean="0">
              <a:solidFill>
                <a:srgbClr val="9F37FE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915618" y="4478746"/>
            <a:ext cx="576262" cy="360040"/>
          </a:xfrm>
          <a:noFill/>
        </p:spPr>
        <p:txBody>
          <a:bodyPr wrap="none" lIns="36000" tIns="36000" rIns="36000" bIns="36000" rtlCol="0" anchor="ctr" anchorCtr="0">
            <a:noAutofit/>
          </a:bodyPr>
          <a:lstStyle>
            <a:lvl1pPr marL="0" indent="0">
              <a:buNone/>
              <a:defRPr lang="en-US" sz="2100" dirty="0">
                <a:solidFill>
                  <a:schemeClr val="accent1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1800"/>
              </a:lnSpc>
              <a:spcAft>
                <a:spcPts val="0"/>
              </a:spcAft>
            </a:pPr>
            <a:r>
              <a:rPr lang="pt-PT" dirty="0" smtClean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7308471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787900" y="274638"/>
            <a:ext cx="3887787" cy="46021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66446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787900" y="274638"/>
            <a:ext cx="3898900" cy="4602162"/>
          </a:xfrm>
        </p:spPr>
        <p:txBody>
          <a:bodyPr/>
          <a:lstStyle>
            <a:lvl1pPr marL="233363" indent="-233363">
              <a:buFont typeface="Arial" charset="0"/>
              <a:buChar char="•"/>
              <a:tabLst/>
              <a:defRPr sz="2100">
                <a:solidFill>
                  <a:schemeClr val="tx1"/>
                </a:solidFill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ips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.</a:t>
            </a:r>
          </a:p>
          <a:p>
            <a:pPr lvl="0"/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12325015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798334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396747" y="4748981"/>
            <a:ext cx="717941" cy="239986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14918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64590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4.x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theme" Target="../theme/theme10.xml"/><Relationship Id="rId5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5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9.xml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theme" Target="../theme/theme11.xml"/><Relationship Id="rId5" Type="http://schemas.openxmlformats.org/officeDocument/2006/relationships/slideLayout" Target="../slideLayouts/slideLayout51.xml"/><Relationship Id="rId4" Type="http://schemas.openxmlformats.org/officeDocument/2006/relationships/slideLayout" Target="../slideLayouts/slideLayout50.xml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4.xml"/><Relationship Id="rId2" Type="http://schemas.openxmlformats.org/officeDocument/2006/relationships/slideLayout" Target="../slideLayouts/slideLayout53.xml"/><Relationship Id="rId1" Type="http://schemas.openxmlformats.org/officeDocument/2006/relationships/slideLayout" Target="../slideLayouts/slideLayout52.xml"/><Relationship Id="rId5" Type="http://schemas.openxmlformats.org/officeDocument/2006/relationships/theme" Target="../theme/theme12.xml"/><Relationship Id="rId4" Type="http://schemas.openxmlformats.org/officeDocument/2006/relationships/slideLayout" Target="../slideLayouts/slideLayout55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slideLayout" Target="../slideLayouts/slideLayout58.xml"/><Relationship Id="rId7" Type="http://schemas.openxmlformats.org/officeDocument/2006/relationships/tags" Target="../tags/tag11.xml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vmlDrawing" Target="../drawings/vmlDrawing6.vml"/><Relationship Id="rId5" Type="http://schemas.openxmlformats.org/officeDocument/2006/relationships/theme" Target="../theme/theme13.xml"/><Relationship Id="rId4" Type="http://schemas.openxmlformats.org/officeDocument/2006/relationships/slideLayout" Target="../slideLayouts/slideLayout59.xml"/><Relationship Id="rId9" Type="http://schemas.openxmlformats.org/officeDocument/2006/relationships/image" Target="../media/image8.emf"/></Relationships>
</file>

<file path=ppt/slideMasters/_rels/slideMaster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2.xml"/><Relationship Id="rId2" Type="http://schemas.openxmlformats.org/officeDocument/2006/relationships/slideLayout" Target="../slideLayouts/slideLayout61.xml"/><Relationship Id="rId1" Type="http://schemas.openxmlformats.org/officeDocument/2006/relationships/slideLayout" Target="../slideLayouts/slideLayout60.xml"/><Relationship Id="rId6" Type="http://schemas.openxmlformats.org/officeDocument/2006/relationships/theme" Target="../theme/theme14.xml"/><Relationship Id="rId5" Type="http://schemas.openxmlformats.org/officeDocument/2006/relationships/slideLayout" Target="../slideLayouts/slideLayout64.xml"/><Relationship Id="rId4" Type="http://schemas.openxmlformats.org/officeDocument/2006/relationships/slideLayout" Target="../slideLayouts/slideLayout63.xml"/></Relationships>
</file>

<file path=ppt/slideMasters/_rels/slideMaster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7.xml"/><Relationship Id="rId2" Type="http://schemas.openxmlformats.org/officeDocument/2006/relationships/slideLayout" Target="../slideLayouts/slideLayout66.xml"/><Relationship Id="rId1" Type="http://schemas.openxmlformats.org/officeDocument/2006/relationships/slideLayout" Target="../slideLayouts/slideLayout65.xml"/><Relationship Id="rId6" Type="http://schemas.openxmlformats.org/officeDocument/2006/relationships/theme" Target="../theme/theme15.xml"/><Relationship Id="rId5" Type="http://schemas.openxmlformats.org/officeDocument/2006/relationships/slideLayout" Target="../slideLayouts/slideLayout69.xml"/><Relationship Id="rId4" Type="http://schemas.openxmlformats.org/officeDocument/2006/relationships/slideLayout" Target="../slideLayouts/slideLayout68.xml"/></Relationships>
</file>

<file path=ppt/slideMasters/_rels/slideMaster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2.xml"/><Relationship Id="rId7" Type="http://schemas.openxmlformats.org/officeDocument/2006/relationships/theme" Target="../theme/theme16.xml"/><Relationship Id="rId2" Type="http://schemas.openxmlformats.org/officeDocument/2006/relationships/slideLayout" Target="../slideLayouts/slideLayout71.xml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5" Type="http://schemas.openxmlformats.org/officeDocument/2006/relationships/slideLayout" Target="../slideLayouts/slideLayout74.xml"/><Relationship Id="rId4" Type="http://schemas.openxmlformats.org/officeDocument/2006/relationships/slideLayout" Target="../slideLayouts/slideLayout73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3.xml"/><Relationship Id="rId3" Type="http://schemas.openxmlformats.org/officeDocument/2006/relationships/slideLayout" Target="../slideLayouts/slideLayout78.xml"/><Relationship Id="rId7" Type="http://schemas.openxmlformats.org/officeDocument/2006/relationships/slideLayout" Target="../slideLayouts/slideLayout82.xml"/><Relationship Id="rId2" Type="http://schemas.openxmlformats.org/officeDocument/2006/relationships/slideLayout" Target="../slideLayouts/slideLayout77.xml"/><Relationship Id="rId1" Type="http://schemas.openxmlformats.org/officeDocument/2006/relationships/slideLayout" Target="../slideLayouts/slideLayout76.xml"/><Relationship Id="rId6" Type="http://schemas.openxmlformats.org/officeDocument/2006/relationships/slideLayout" Target="../slideLayouts/slideLayout81.xml"/><Relationship Id="rId11" Type="http://schemas.openxmlformats.org/officeDocument/2006/relationships/theme" Target="../theme/theme17.xml"/><Relationship Id="rId5" Type="http://schemas.openxmlformats.org/officeDocument/2006/relationships/slideLayout" Target="../slideLayouts/slideLayout80.xml"/><Relationship Id="rId10" Type="http://schemas.openxmlformats.org/officeDocument/2006/relationships/slideLayout" Target="../slideLayouts/slideLayout85.xml"/><Relationship Id="rId4" Type="http://schemas.openxmlformats.org/officeDocument/2006/relationships/slideLayout" Target="../slideLayouts/slideLayout79.xml"/><Relationship Id="rId9" Type="http://schemas.openxmlformats.org/officeDocument/2006/relationships/slideLayout" Target="../slideLayouts/slideLayout84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3.xml"/><Relationship Id="rId3" Type="http://schemas.openxmlformats.org/officeDocument/2006/relationships/slideLayout" Target="../slideLayouts/slideLayout88.xml"/><Relationship Id="rId7" Type="http://schemas.openxmlformats.org/officeDocument/2006/relationships/slideLayout" Target="../slideLayouts/slideLayout92.xml"/><Relationship Id="rId2" Type="http://schemas.openxmlformats.org/officeDocument/2006/relationships/slideLayout" Target="../slideLayouts/slideLayout87.xml"/><Relationship Id="rId1" Type="http://schemas.openxmlformats.org/officeDocument/2006/relationships/slideLayout" Target="../slideLayouts/slideLayout86.xml"/><Relationship Id="rId6" Type="http://schemas.openxmlformats.org/officeDocument/2006/relationships/slideLayout" Target="../slideLayouts/slideLayout91.xml"/><Relationship Id="rId5" Type="http://schemas.openxmlformats.org/officeDocument/2006/relationships/slideLayout" Target="../slideLayouts/slideLayout90.xml"/><Relationship Id="rId4" Type="http://schemas.openxmlformats.org/officeDocument/2006/relationships/slideLayout" Target="../slideLayouts/slideLayout89.xml"/><Relationship Id="rId9" Type="http://schemas.openxmlformats.org/officeDocument/2006/relationships/theme" Target="../theme/theme18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slideLayout" Target="../slideLayouts/slideLayout96.xml"/><Relationship Id="rId7" Type="http://schemas.openxmlformats.org/officeDocument/2006/relationships/oleObject" Target="../embeddings/oleObject8.bin"/><Relationship Id="rId2" Type="http://schemas.openxmlformats.org/officeDocument/2006/relationships/slideLayout" Target="../slideLayouts/slideLayout95.xml"/><Relationship Id="rId1" Type="http://schemas.openxmlformats.org/officeDocument/2006/relationships/slideLayout" Target="../slideLayouts/slideLayout94.xml"/><Relationship Id="rId6" Type="http://schemas.openxmlformats.org/officeDocument/2006/relationships/tags" Target="../tags/tag13.xml"/><Relationship Id="rId5" Type="http://schemas.openxmlformats.org/officeDocument/2006/relationships/vmlDrawing" Target="../drawings/vmlDrawing8.vml"/><Relationship Id="rId4" Type="http://schemas.openxmlformats.org/officeDocument/2006/relationships/theme" Target="../theme/theme1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13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tags" Target="../tags/tag2.xml"/><Relationship Id="rId11" Type="http://schemas.openxmlformats.org/officeDocument/2006/relationships/image" Target="../media/image4.png"/><Relationship Id="rId5" Type="http://schemas.openxmlformats.org/officeDocument/2006/relationships/vmlDrawing" Target="../drawings/vmlDrawing1.vml"/><Relationship Id="rId10" Type="http://schemas.openxmlformats.org/officeDocument/2006/relationships/image" Target="../media/image3.emf"/><Relationship Id="rId4" Type="http://schemas.openxmlformats.org/officeDocument/2006/relationships/theme" Target="../theme/theme2.xml"/><Relationship Id="rId9" Type="http://schemas.openxmlformats.org/officeDocument/2006/relationships/oleObject" Target="../embeddings/oleObject1.bin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4.xml"/><Relationship Id="rId3" Type="http://schemas.openxmlformats.org/officeDocument/2006/relationships/slideLayout" Target="../slideLayouts/slideLayout99.xml"/><Relationship Id="rId7" Type="http://schemas.openxmlformats.org/officeDocument/2006/relationships/slideLayout" Target="../slideLayouts/slideLayout103.xml"/><Relationship Id="rId2" Type="http://schemas.openxmlformats.org/officeDocument/2006/relationships/slideLayout" Target="../slideLayouts/slideLayout98.xml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5" Type="http://schemas.openxmlformats.org/officeDocument/2006/relationships/slideLayout" Target="../slideLayouts/slideLayout101.xml"/><Relationship Id="rId4" Type="http://schemas.openxmlformats.org/officeDocument/2006/relationships/slideLayout" Target="../slideLayouts/slideLayout100.xml"/><Relationship Id="rId9" Type="http://schemas.openxmlformats.org/officeDocument/2006/relationships/theme" Target="../theme/theme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3" Type="http://schemas.openxmlformats.org/officeDocument/2006/relationships/slideLayout" Target="../slideLayouts/slideLayout16.xml"/><Relationship Id="rId7" Type="http://schemas.openxmlformats.org/officeDocument/2006/relationships/tags" Target="../tags/tag6.xml"/><Relationship Id="rId12" Type="http://schemas.openxmlformats.org/officeDocument/2006/relationships/image" Target="../media/image4.png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vmlDrawing" Target="../drawings/vmlDrawing3.vml"/><Relationship Id="rId11" Type="http://schemas.openxmlformats.org/officeDocument/2006/relationships/image" Target="../media/image3.emf"/><Relationship Id="rId5" Type="http://schemas.openxmlformats.org/officeDocument/2006/relationships/theme" Target="../theme/theme3.xml"/><Relationship Id="rId10" Type="http://schemas.openxmlformats.org/officeDocument/2006/relationships/oleObject" Target="../embeddings/oleObject3.bin"/><Relationship Id="rId4" Type="http://schemas.openxmlformats.org/officeDocument/2006/relationships/slideLayout" Target="../slideLayouts/slideLayout17.xml"/><Relationship Id="rId9" Type="http://schemas.openxmlformats.org/officeDocument/2006/relationships/tags" Target="../tags/tag8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slideLayout" Target="../slideLayouts/slideLayout23.xml"/><Relationship Id="rId7" Type="http://schemas.openxmlformats.org/officeDocument/2006/relationships/tags" Target="../tags/tag10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vmlDrawing" Target="../drawings/vmlDrawing5.vml"/><Relationship Id="rId5" Type="http://schemas.openxmlformats.org/officeDocument/2006/relationships/theme" Target="../theme/theme5.xml"/><Relationship Id="rId4" Type="http://schemas.openxmlformats.org/officeDocument/2006/relationships/slideLayout" Target="../slideLayouts/slideLayout24.xml"/><Relationship Id="rId9" Type="http://schemas.openxmlformats.org/officeDocument/2006/relationships/image" Target="../media/image8.emf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5" Type="http://schemas.openxmlformats.org/officeDocument/2006/relationships/theme" Target="../theme/theme6.xml"/><Relationship Id="rId4" Type="http://schemas.openxmlformats.org/officeDocument/2006/relationships/slideLayout" Target="../slideLayouts/slideLayout28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5" Type="http://schemas.openxmlformats.org/officeDocument/2006/relationships/theme" Target="../theme/theme7.xml"/><Relationship Id="rId4" Type="http://schemas.openxmlformats.org/officeDocument/2006/relationships/slideLayout" Target="../slideLayouts/slideLayout32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.xml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theme" Target="../theme/theme8.xml"/><Relationship Id="rId5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6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0.xml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5" Type="http://schemas.openxmlformats.org/officeDocument/2006/relationships/theme" Target="../theme/theme9.xml"/><Relationship Id="rId4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latin typeface="Georgia" pitchFamily="18" charset="0"/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  <a:spcBef>
                <a:spcPts val="0"/>
              </a:spcBef>
            </a:pPr>
            <a:r>
              <a:rPr lang="en-US" sz="28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  <a:spcBef>
                <a:spcPts val="0"/>
              </a:spcBef>
            </a:pPr>
            <a:r>
              <a:rPr lang="en-US" sz="28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  <a:spcBef>
                <a:spcPts val="0"/>
              </a:spcBef>
            </a:pPr>
            <a:r>
              <a:rPr lang="en-US" sz="1400" i="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</a:t>
            </a:r>
            <a:r>
              <a:rPr lang="en-US" sz="1400" i="0" baseline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BP Regular 14pt</a:t>
            </a:r>
            <a:endParaRPr lang="en-US" sz="1400" i="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G 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40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160  G 43  B 255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109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77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16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</a:t>
            </a:r>
            <a:r>
              <a:rPr lang="en-US" sz="1600" i="0" baseline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</a:t>
            </a:r>
            <a:r>
              <a:rPr lang="en-US" sz="1600" i="0" baseline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i="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16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i="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i="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i="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i="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i="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i="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i="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i="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i="0" baseline="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  <a:endParaRPr lang="en-US" sz="1600" i="0" dirty="0" smtClean="0">
              <a:solidFill>
                <a:srgbClr val="4D4D4D"/>
              </a:solidFill>
              <a:latin typeface="Simplon BP Regular" pitchFamily="2" charset="0"/>
              <a:cs typeface="Simplon Oi Headline"/>
            </a:endParaRP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973088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4" r:id="rId1"/>
    <p:sldLayoutId id="2147483975" r:id="rId2"/>
    <p:sldLayoutId id="2147483938" r:id="rId3"/>
    <p:sldLayoutId id="2147484127" r:id="rId4"/>
    <p:sldLayoutId id="2147484146" r:id="rId5"/>
    <p:sldLayoutId id="2147484147" r:id="rId6"/>
    <p:sldLayoutId id="2147484149" r:id="rId7"/>
    <p:sldLayoutId id="2147484151" r:id="rId8"/>
    <p:sldLayoutId id="2147484152" r:id="rId9"/>
    <p:sldLayoutId id="2147484153" r:id="rId10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56117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9" r:id="rId1"/>
    <p:sldLayoutId id="2147484050" r:id="rId2"/>
    <p:sldLayoutId id="2147484051" r:id="rId3"/>
    <p:sldLayoutId id="2147484052" r:id="rId4"/>
    <p:sldLayoutId id="2147484053" r:id="rId5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54026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5" r:id="rId1"/>
    <p:sldLayoutId id="2147484056" r:id="rId2"/>
    <p:sldLayoutId id="2147484057" r:id="rId3"/>
    <p:sldLayoutId id="2147484058" r:id="rId4"/>
    <p:sldLayoutId id="2147484059" r:id="rId5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8"/>
            <a:ext cx="8207375" cy="7842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3" name="Freeform 5"/>
          <p:cNvSpPr>
            <a:spLocks/>
          </p:cNvSpPr>
          <p:nvPr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4" name="Freeform 5"/>
          <p:cNvSpPr>
            <a:spLocks/>
          </p:cNvSpPr>
          <p:nvPr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65850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2" r:id="rId1"/>
    <p:sldLayoutId id="2147484063" r:id="rId2"/>
    <p:sldLayoutId id="2147484064" r:id="rId3"/>
    <p:sldLayoutId id="2147484066" r:id="rId4"/>
  </p:sldLayoutIdLst>
  <p:hf hdr="0" dt="0"/>
  <p:txStyles>
    <p:titleStyle>
      <a:lvl1pPr algn="l" defTabSz="457200" rtl="0" eaLnBrk="1" latinLnBrk="0" hangingPunct="1">
        <a:lnSpc>
          <a:spcPts val="42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chemeClr val="accent1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7153167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96" name="Slide do think-cell" r:id="rId8" imgW="270" imgH="270" progId="TCLayout.ActiveDocument.1">
                  <p:embed/>
                </p:oleObj>
              </mc:Choice>
              <mc:Fallback>
                <p:oleObj name="Slide do think-cell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81135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8" r:id="rId1"/>
    <p:sldLayoutId id="2147484069" r:id="rId2"/>
    <p:sldLayoutId id="2147484070" r:id="rId3"/>
    <p:sldLayoutId id="2147484071" r:id="rId4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10219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3" r:id="rId1"/>
    <p:sldLayoutId id="2147484074" r:id="rId2"/>
    <p:sldLayoutId id="2147484075" r:id="rId3"/>
    <p:sldLayoutId id="2147484077" r:id="rId4"/>
    <p:sldLayoutId id="2147484078" r:id="rId5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28088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1" r:id="rId1"/>
    <p:sldLayoutId id="2147484082" r:id="rId2"/>
    <p:sldLayoutId id="2147484083" r:id="rId3"/>
    <p:sldLayoutId id="2147484084" r:id="rId4"/>
    <p:sldLayoutId id="2147484085" r:id="rId5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86085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8" r:id="rId1"/>
    <p:sldLayoutId id="2147484089" r:id="rId2"/>
    <p:sldLayoutId id="2147484090" r:id="rId3"/>
    <p:sldLayoutId id="2147484091" r:id="rId4"/>
    <p:sldLayoutId id="2147484092" r:id="rId5"/>
    <p:sldLayoutId id="2147484093" r:id="rId6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85691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6" r:id="rId1"/>
    <p:sldLayoutId id="2147484097" r:id="rId2"/>
    <p:sldLayoutId id="2147484098" r:id="rId3"/>
    <p:sldLayoutId id="2147484099" r:id="rId4"/>
    <p:sldLayoutId id="2147484100" r:id="rId5"/>
    <p:sldLayoutId id="2147484101" r:id="rId6"/>
    <p:sldLayoutId id="2147484102" r:id="rId7"/>
    <p:sldLayoutId id="2147484103" r:id="rId8"/>
    <p:sldLayoutId id="2147484105" r:id="rId9"/>
    <p:sldLayoutId id="2147484106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8"/>
            <a:ext cx="5615855" cy="7842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3" name="Freeform 5"/>
          <p:cNvSpPr>
            <a:spLocks/>
          </p:cNvSpPr>
          <p:nvPr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4" name="Freeform 5"/>
          <p:cNvSpPr>
            <a:spLocks/>
          </p:cNvSpPr>
          <p:nvPr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0050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0" r:id="rId1"/>
    <p:sldLayoutId id="2147484111" r:id="rId2"/>
    <p:sldLayoutId id="2147484112" r:id="rId3"/>
    <p:sldLayoutId id="2147484113" r:id="rId4"/>
    <p:sldLayoutId id="2147484114" r:id="rId5"/>
    <p:sldLayoutId id="2147484115" r:id="rId6"/>
    <p:sldLayoutId id="2147484116" r:id="rId7"/>
    <p:sldLayoutId id="2147484117" r:id="rId8"/>
  </p:sldLayoutIdLst>
  <p:hf hdr="0" dt="0"/>
  <p:txStyles>
    <p:titleStyle>
      <a:lvl1pPr algn="l" defTabSz="457200" rtl="0" eaLnBrk="1" latinLnBrk="0" hangingPunct="1">
        <a:lnSpc>
          <a:spcPts val="42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698" name="Slide do think-cell" r:id="rId7" imgW="270" imgH="270" progId="TCLayout.ActiveDocument.1">
                  <p:embed/>
                </p:oleObj>
              </mc:Choice>
              <mc:Fallback>
                <p:oleObj name="Slide do think-cell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8"/>
            <a:ext cx="8207375" cy="7842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3" name="Freeform 5"/>
          <p:cNvSpPr>
            <a:spLocks/>
          </p:cNvSpPr>
          <p:nvPr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4" name="Freeform 5"/>
          <p:cNvSpPr>
            <a:spLocks/>
          </p:cNvSpPr>
          <p:nvPr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44895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9" r:id="rId1"/>
    <p:sldLayoutId id="2147484120" r:id="rId2"/>
    <p:sldLayoutId id="2147484121" r:id="rId3"/>
  </p:sldLayoutIdLst>
  <p:hf hdr="0" dt="0"/>
  <p:txStyles>
    <p:titleStyle>
      <a:lvl1pPr algn="l" defTabSz="457200" rtl="0" eaLnBrk="1" latinLnBrk="0" hangingPunct="1">
        <a:lnSpc>
          <a:spcPts val="42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chemeClr val="accent1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992221278"/>
              </p:ext>
            </p:extLst>
          </p:nvPr>
        </p:nvGraphicFramePr>
        <p:xfrm>
          <a:off x="1" y="15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516" name="Slide do think-cell" r:id="rId9" imgW="270" imgH="270" progId="TCLayout.ActiveDocument.1">
                  <p:embed/>
                </p:oleObj>
              </mc:Choice>
              <mc:Fallback>
                <p:oleObj name="Slide do think-cell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" y="15"/>
                        <a:ext cx="161984" cy="12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957092" y="1474236"/>
            <a:ext cx="223138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</a:rPr>
              <a:t>Last Modified 12/06/2015 13:09 E. South America Standard Time</a:t>
            </a:r>
            <a:endParaRPr lang="pt-PT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260699" y="3137775"/>
            <a:ext cx="162544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</a:rPr>
              <a:t>Printed 15-04-2015 17:43 Bahia Standard Time</a:t>
            </a:r>
            <a:endParaRPr lang="pt-PT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0" y="1493049"/>
            <a:ext cx="438976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PT" noProof="0" smtClean="0"/>
              <a:t>Text</a:t>
            </a:r>
            <a:endParaRPr lang="pt-PT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90" y="176168"/>
            <a:ext cx="8275764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PT" noProof="0" smtClean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78" y="20652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pt-PT" sz="1400" err="1" smtClean="0">
                <a:solidFill>
                  <a:srgbClr val="808080"/>
                </a:solidFill>
              </a:rPr>
              <a:t>TRACKER</a:t>
            </a:r>
            <a:endParaRPr lang="pt-PT" sz="140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2126" y="407064"/>
            <a:ext cx="87941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pt-PT" sz="160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21489" y="4729549"/>
            <a:ext cx="8722840" cy="308561"/>
            <a:chOff x="75" y="3879"/>
            <a:chExt cx="5385" cy="254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9"/>
              <a:ext cx="5385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00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495233" indent="-495233" defTabSz="883885" fontAlgn="base">
                <a:spcBef>
                  <a:spcPct val="0"/>
                </a:spcBef>
                <a:spcAft>
                  <a:spcPct val="0"/>
                </a:spcAft>
                <a:tabLst>
                  <a:tab pos="266419" algn="l"/>
                </a:tabLst>
              </a:pPr>
              <a:r>
                <a:rPr lang="pt-PT" sz="1000" smtClean="0">
                  <a:solidFill>
                    <a:srgbClr val="000000"/>
                  </a:solidFill>
                </a:rPr>
                <a:t>FONTE: Font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6" y="740307"/>
            <a:ext cx="4350892" cy="511433"/>
            <a:chOff x="915" y="609"/>
            <a:chExt cx="2686" cy="421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PT" sz="1600" b="1" smtClean="0">
                  <a:solidFill>
                    <a:srgbClr val="00474C"/>
                  </a:solidFill>
                </a:rPr>
                <a:t>Titl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PT" sz="1600" smtClean="0">
                  <a:solidFill>
                    <a:srgbClr val="808080"/>
                  </a:solidFill>
                </a:rPr>
                <a:t>Unit of measure</a:t>
              </a:r>
              <a:endParaRPr lang="pt-PT" sz="1600">
                <a:solidFill>
                  <a:srgbClr val="808080"/>
                </a:solidFill>
              </a:endParaRPr>
            </a:p>
          </p:txBody>
        </p:sp>
      </p:grpSp>
      <p:sp>
        <p:nvSpPr>
          <p:cNvPr id="21" name="SlideLogoSeparator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590626" y="4901190"/>
            <a:ext cx="40892" cy="1397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83885" fontAlgn="base">
              <a:spcBef>
                <a:spcPct val="0"/>
              </a:spcBef>
              <a:spcAft>
                <a:spcPct val="0"/>
              </a:spcAft>
            </a:pPr>
            <a:r>
              <a:rPr lang="pt-PT" sz="1200" smtClean="0">
                <a:solidFill>
                  <a:srgbClr val="000000"/>
                </a:solidFill>
              </a:rPr>
              <a:t>|</a:t>
            </a:r>
            <a:endParaRPr lang="pt-PT" sz="1200">
              <a:solidFill>
                <a:srgbClr val="000000"/>
              </a:solidFill>
            </a:endParaRPr>
          </a:p>
        </p:txBody>
      </p:sp>
      <p:sp>
        <p:nvSpPr>
          <p:cNvPr id="23" name="SlideLogoText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6874508" y="4906207"/>
            <a:ext cx="1628651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83885" fontAlgn="base">
              <a:spcBef>
                <a:spcPct val="0"/>
              </a:spcBef>
              <a:spcAft>
                <a:spcPct val="0"/>
              </a:spcAft>
            </a:pPr>
            <a:r>
              <a:rPr lang="pt-PT" sz="1000" smtClean="0">
                <a:solidFill>
                  <a:srgbClr val="000000"/>
                </a:solidFill>
              </a:rPr>
              <a:t>MATERIAL CONFIDENCIAL</a:t>
            </a:r>
            <a:endParaRPr lang="pt-PT" sz="1000">
              <a:solidFill>
                <a:srgbClr val="000000"/>
              </a:solidFill>
            </a:endParaRPr>
          </a:p>
        </p:txBody>
      </p:sp>
      <p:pic>
        <p:nvPicPr>
          <p:cNvPr id="20" name="Picture 9" descr="PPT Aqua_Bases-02.png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52" t="27638" r="50000" b="27725"/>
          <a:stretch>
            <a:fillRect/>
          </a:stretch>
        </p:blipFill>
        <p:spPr bwMode="auto">
          <a:xfrm>
            <a:off x="8543040" y="128665"/>
            <a:ext cx="479472" cy="3504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590626" y="4729549"/>
            <a:ext cx="342165" cy="31190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46954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9" r:id="rId1"/>
    <p:sldLayoutId id="2147483980" r:id="rId2"/>
    <p:sldLayoutId id="2147483981" r:id="rId3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883885" rtl="0" eaLnBrk="1" fontAlgn="base" hangingPunct="1">
        <a:spcBef>
          <a:spcPct val="0"/>
        </a:spcBef>
        <a:spcAft>
          <a:spcPct val="0"/>
        </a:spcAft>
        <a:tabLst>
          <a:tab pos="266419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1340"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02687"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54039"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05381"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1199" indent="-189635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1340" indent="-258584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06501" indent="-153585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0211" indent="-128508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0211" indent="-128508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0211" indent="-128508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0211" indent="-128508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0211" indent="-128508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1340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2687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4039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05381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56724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08074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59418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10767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10568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2" r:id="rId1"/>
    <p:sldLayoutId id="2147484143" r:id="rId2"/>
    <p:sldLayoutId id="2147484144" r:id="rId3"/>
    <p:sldLayoutId id="2147484145" r:id="rId4"/>
    <p:sldLayoutId id="2147484157" r:id="rId5"/>
    <p:sldLayoutId id="2147484160" r:id="rId6"/>
    <p:sldLayoutId id="2147484161" r:id="rId7"/>
    <p:sldLayoutId id="2147484163" r:id="rId8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682866198"/>
              </p:ext>
            </p:extLst>
          </p:nvPr>
        </p:nvGraphicFramePr>
        <p:xfrm>
          <a:off x="0" y="1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1562" name="Slide do think-cell" r:id="rId10" imgW="270" imgH="270" progId="TCLayout.ActiveDocument.1">
                  <p:embed/>
                </p:oleObj>
              </mc:Choice>
              <mc:Fallback>
                <p:oleObj name="Slide do think-cell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161984" cy="12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957036" y="1474167"/>
            <a:ext cx="223138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</a:rPr>
              <a:t>Last Modified 28/08/2015 12:00 E. South America Standard Time</a:t>
            </a:r>
            <a:endParaRPr lang="pt-PT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064438" y="3137656"/>
            <a:ext cx="201657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</a:rPr>
              <a:t>Printed 28/08/2015 03:04 E. South America Standard Time</a:t>
            </a:r>
            <a:endParaRPr lang="pt-PT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0" y="1493000"/>
            <a:ext cx="438976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PT" noProof="0" smtClean="0"/>
              <a:t>Text</a:t>
            </a:r>
            <a:endParaRPr lang="pt-PT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89" y="176148"/>
            <a:ext cx="8275764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PT" noProof="0" smtClean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82" y="20652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pt-PT" sz="1400" dirty="0" err="1" smtClean="0">
                <a:solidFill>
                  <a:srgbClr val="808080"/>
                </a:solidFill>
              </a:rPr>
              <a:t>TRACKER</a:t>
            </a:r>
            <a:endParaRPr lang="pt-PT" sz="1400" dirty="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94" y="406961"/>
            <a:ext cx="87941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pt-PT" sz="1600" smtClean="0">
                <a:solidFill>
                  <a:srgbClr val="808080"/>
                </a:solidFill>
                <a:latin typeface="Arial"/>
              </a:rPr>
              <a:t>Unit of measure</a:t>
            </a:r>
            <a:endParaRPr lang="pt-PT" sz="1600" dirty="0" smtClean="0">
              <a:solidFill>
                <a:srgbClr val="808080"/>
              </a:solidFill>
              <a:latin typeface="Arial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21489" y="4734060"/>
            <a:ext cx="8722840" cy="308559"/>
            <a:chOff x="75" y="3879"/>
            <a:chExt cx="5385" cy="254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9"/>
              <a:ext cx="5385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000" smtClean="0">
                  <a:solidFill>
                    <a:srgbClr val="000000"/>
                  </a:solidFill>
                  <a:latin typeface="Arial"/>
                </a:rPr>
                <a:t>1 Footnote</a:t>
              </a:r>
              <a:endParaRPr lang="pt-PT" sz="1000" dirty="0" smtClea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501650" indent="-501650" defTabSz="895350" fontAlgn="base">
                <a:spcBef>
                  <a:spcPct val="0"/>
                </a:spcBef>
                <a:spcAft>
                  <a:spcPct val="0"/>
                </a:spcAft>
                <a:tabLst>
                  <a:tab pos="269875" algn="l"/>
                </a:tabLst>
              </a:pPr>
              <a:r>
                <a:rPr lang="pt-PT" sz="1000" smtClean="0">
                  <a:solidFill>
                    <a:srgbClr val="000000"/>
                  </a:solidFill>
                </a:rPr>
                <a:t>FONTE: Fonte</a:t>
              </a:r>
              <a:endParaRPr lang="pt-PT" sz="1000" dirty="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1" y="739825"/>
            <a:ext cx="4350892" cy="511434"/>
            <a:chOff x="915" y="609"/>
            <a:chExt cx="2686" cy="421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PT" sz="1600" b="1" smtClean="0">
                  <a:solidFill>
                    <a:srgbClr val="00474C"/>
                  </a:solidFill>
                </a:rPr>
                <a:t>Titl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PT" sz="1600" smtClean="0">
                  <a:solidFill>
                    <a:srgbClr val="808080"/>
                  </a:solidFill>
                </a:rPr>
                <a:t>Unit of measure</a:t>
              </a:r>
              <a:endParaRPr lang="pt-PT" sz="1600" dirty="0">
                <a:solidFill>
                  <a:srgbClr val="808080"/>
                </a:solidFill>
              </a:endParaRPr>
            </a:p>
          </p:txBody>
        </p:sp>
      </p:grpSp>
      <p:sp>
        <p:nvSpPr>
          <p:cNvPr id="21" name="SlideLogoSeparator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8590626" y="4900545"/>
            <a:ext cx="40892" cy="1397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 fontAlgn="base">
              <a:spcBef>
                <a:spcPct val="0"/>
              </a:spcBef>
              <a:spcAft>
                <a:spcPct val="0"/>
              </a:spcAft>
            </a:pPr>
            <a:r>
              <a:rPr lang="pt-PT" sz="1200" smtClean="0">
                <a:solidFill>
                  <a:srgbClr val="000000"/>
                </a:solidFill>
              </a:rPr>
              <a:t>|</a:t>
            </a:r>
            <a:endParaRPr lang="pt-PT" sz="1200" dirty="0">
              <a:solidFill>
                <a:srgbClr val="000000"/>
              </a:solidFill>
            </a:endParaRPr>
          </a:p>
        </p:txBody>
      </p:sp>
      <p:sp>
        <p:nvSpPr>
          <p:cNvPr id="23" name="SlideLogoText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6873899" y="4906200"/>
            <a:ext cx="1628651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 fontAlgn="base">
              <a:spcBef>
                <a:spcPct val="0"/>
              </a:spcBef>
              <a:spcAft>
                <a:spcPct val="0"/>
              </a:spcAft>
            </a:pPr>
            <a:r>
              <a:rPr lang="pt-PT" sz="1000" smtClean="0">
                <a:solidFill>
                  <a:srgbClr val="000000"/>
                </a:solidFill>
              </a:rPr>
              <a:t>MATERIAL CONFIDENCIAL</a:t>
            </a:r>
            <a:endParaRPr lang="pt-PT" sz="1000" dirty="0">
              <a:solidFill>
                <a:srgbClr val="000000"/>
              </a:solidFill>
            </a:endParaRPr>
          </a:p>
        </p:txBody>
      </p:sp>
      <p:pic>
        <p:nvPicPr>
          <p:cNvPr id="20" name="Picture 9" descr="PPT Aqua_Bases-02.png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52" t="27638" r="50000" b="27725"/>
          <a:stretch>
            <a:fillRect/>
          </a:stretch>
        </p:blipFill>
        <p:spPr bwMode="auto">
          <a:xfrm>
            <a:off x="8543039" y="128169"/>
            <a:ext cx="479472" cy="3504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31518" y="4811200"/>
            <a:ext cx="301099" cy="23025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11520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4" r:id="rId1"/>
    <p:sldLayoutId id="2147483985" r:id="rId2"/>
    <p:sldLayoutId id="2147483986" r:id="rId3"/>
    <p:sldLayoutId id="2147483987" r:id="rId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59727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4" r:id="rId1"/>
    <p:sldLayoutId id="2147483995" r:id="rId2"/>
    <p:sldLayoutId id="2147483996" r:id="rId3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0555463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39" name="Slide do think-cell" r:id="rId8" imgW="270" imgH="270" progId="TCLayout.ActiveDocument.1">
                  <p:embed/>
                </p:oleObj>
              </mc:Choice>
              <mc:Fallback>
                <p:oleObj name="Slide do think-cell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49818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9" r:id="rId1"/>
    <p:sldLayoutId id="2147484000" r:id="rId2"/>
    <p:sldLayoutId id="2147484001" r:id="rId3"/>
    <p:sldLayoutId id="2147484002" r:id="rId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06009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5" r:id="rId1"/>
    <p:sldLayoutId id="2147484006" r:id="rId2"/>
    <p:sldLayoutId id="2147484007" r:id="rId3"/>
    <p:sldLayoutId id="2147484008" r:id="rId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3327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9" r:id="rId1"/>
    <p:sldLayoutId id="2147484030" r:id="rId2"/>
    <p:sldLayoutId id="2147484031" r:id="rId3"/>
    <p:sldLayoutId id="2147484033" r:id="rId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65212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6" r:id="rId1"/>
    <p:sldLayoutId id="2147484037" r:id="rId2"/>
    <p:sldLayoutId id="2147484038" r:id="rId3"/>
    <p:sldLayoutId id="2147484039" r:id="rId4"/>
    <p:sldLayoutId id="2147484041" r:id="rId5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72493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3" r:id="rId1"/>
    <p:sldLayoutId id="2147484044" r:id="rId2"/>
    <p:sldLayoutId id="2147484045" r:id="rId3"/>
    <p:sldLayoutId id="2147484046" r:id="rId4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6.xml"/><Relationship Id="rId7" Type="http://schemas.microsoft.com/office/2007/relationships/diagramDrawing" Target="../diagrams/drawing6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1.xml"/><Relationship Id="rId6" Type="http://schemas.openxmlformats.org/officeDocument/2006/relationships/diagramColors" Target="../diagrams/colors6.xml"/><Relationship Id="rId5" Type="http://schemas.openxmlformats.org/officeDocument/2006/relationships/diagramQuickStyle" Target="../diagrams/quickStyle6.xml"/><Relationship Id="rId4" Type="http://schemas.openxmlformats.org/officeDocument/2006/relationships/diagramLayout" Target="../diagrams/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7.xml"/><Relationship Id="rId7" Type="http://schemas.microsoft.com/office/2007/relationships/diagramDrawing" Target="../diagrams/drawing7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1.xml"/><Relationship Id="rId6" Type="http://schemas.openxmlformats.org/officeDocument/2006/relationships/diagramColors" Target="../diagrams/colors7.xml"/><Relationship Id="rId5" Type="http://schemas.openxmlformats.org/officeDocument/2006/relationships/diagramQuickStyle" Target="../diagrams/quickStyle7.xml"/><Relationship Id="rId4" Type="http://schemas.openxmlformats.org/officeDocument/2006/relationships/diagramLayout" Target="../diagrams/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JP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4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hyperlink" Target="mailto:Leandro.Frossard@oi.net.br" TargetMode="External"/><Relationship Id="rId1" Type="http://schemas.openxmlformats.org/officeDocument/2006/relationships/slideLayout" Target="../slideLayouts/slideLayout10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10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G"/><Relationship Id="rId1" Type="http://schemas.openxmlformats.org/officeDocument/2006/relationships/slideLayout" Target="../slideLayouts/slideLayout10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G"/><Relationship Id="rId1" Type="http://schemas.openxmlformats.org/officeDocument/2006/relationships/slideLayout" Target="../slideLayouts/slideLayout10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3.xml"/><Relationship Id="rId3" Type="http://schemas.openxmlformats.org/officeDocument/2006/relationships/diagramLayout" Target="../diagrams/layout2.xml"/><Relationship Id="rId7" Type="http://schemas.openxmlformats.org/officeDocument/2006/relationships/diagramData" Target="../diagrams/data3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00.xml"/><Relationship Id="rId6" Type="http://schemas.microsoft.com/office/2007/relationships/diagramDrawing" Target="../diagrams/drawing2.xml"/><Relationship Id="rId11" Type="http://schemas.microsoft.com/office/2007/relationships/diagramDrawing" Target="../diagrams/drawing3.xml"/><Relationship Id="rId5" Type="http://schemas.openxmlformats.org/officeDocument/2006/relationships/diagramColors" Target="../diagrams/colors2.xml"/><Relationship Id="rId10" Type="http://schemas.openxmlformats.org/officeDocument/2006/relationships/diagramColors" Target="../diagrams/colors3.xml"/><Relationship Id="rId4" Type="http://schemas.openxmlformats.org/officeDocument/2006/relationships/diagramQuickStyle" Target="../diagrams/quickStyle2.xml"/><Relationship Id="rId9" Type="http://schemas.openxmlformats.org/officeDocument/2006/relationships/diagramQuickStyle" Target="../diagrams/quickStyle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5.xml"/><Relationship Id="rId3" Type="http://schemas.openxmlformats.org/officeDocument/2006/relationships/diagramLayout" Target="../diagrams/layout4.xml"/><Relationship Id="rId7" Type="http://schemas.openxmlformats.org/officeDocument/2006/relationships/diagramData" Target="../diagrams/data5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100.xml"/><Relationship Id="rId6" Type="http://schemas.microsoft.com/office/2007/relationships/diagramDrawing" Target="../diagrams/drawing4.xml"/><Relationship Id="rId11" Type="http://schemas.microsoft.com/office/2007/relationships/diagramDrawing" Target="../diagrams/drawing5.xml"/><Relationship Id="rId5" Type="http://schemas.openxmlformats.org/officeDocument/2006/relationships/diagramColors" Target="../diagrams/colors4.xml"/><Relationship Id="rId10" Type="http://schemas.openxmlformats.org/officeDocument/2006/relationships/diagramColors" Target="../diagrams/colors5.xml"/><Relationship Id="rId4" Type="http://schemas.openxmlformats.org/officeDocument/2006/relationships/diagramQuickStyle" Target="../diagrams/quickStyle4.xml"/><Relationship Id="rId9" Type="http://schemas.openxmlformats.org/officeDocument/2006/relationships/diagramQuickStyle" Target="../diagrams/quickStyle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0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323037" y="1835464"/>
            <a:ext cx="3803592" cy="933136"/>
          </a:xfrm>
        </p:spPr>
        <p:txBody>
          <a:bodyPr/>
          <a:lstStyle/>
          <a:p>
            <a:pPr lvl="0">
              <a:lnSpc>
                <a:spcPct val="100000"/>
              </a:lnSpc>
              <a:defRPr/>
            </a:pPr>
            <a:r>
              <a:rPr lang="en-US" dirty="0" smtClean="0"/>
              <a:t>DGS-</a:t>
            </a:r>
            <a:r>
              <a:rPr lang="en-US" dirty="0" err="1" smtClean="0"/>
              <a:t>Gerência</a:t>
            </a:r>
            <a:r>
              <a:rPr lang="en-US" dirty="0" smtClean="0"/>
              <a:t> de </a:t>
            </a:r>
            <a:r>
              <a:rPr lang="en-US" dirty="0" err="1" smtClean="0"/>
              <a:t>faturamento</a:t>
            </a:r>
            <a:r>
              <a:rPr lang="en-US" dirty="0" smtClean="0"/>
              <a:t> </a:t>
            </a:r>
            <a:r>
              <a:rPr lang="en-US" dirty="0" err="1" smtClean="0"/>
              <a:t>convergente</a:t>
            </a:r>
            <a:r>
              <a:rPr lang="en-US" dirty="0" smtClean="0"/>
              <a:t> e</a:t>
            </a:r>
          </a:p>
          <a:p>
            <a:pPr lvl="0">
              <a:lnSpc>
                <a:spcPct val="100000"/>
              </a:lnSpc>
              <a:defRPr/>
            </a:pPr>
            <a:r>
              <a:rPr lang="en-US" dirty="0" smtClean="0"/>
              <a:t>FRAUDE</a:t>
            </a:r>
          </a:p>
          <a:p>
            <a:pPr lvl="0">
              <a:lnSpc>
                <a:spcPct val="100000"/>
              </a:lnSpc>
              <a:defRPr/>
            </a:pP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23037" y="267315"/>
            <a:ext cx="5174379" cy="1330363"/>
          </a:xfrm>
          <a:prstGeom prst="rect">
            <a:avLst/>
          </a:prstGeom>
        </p:spPr>
        <p:txBody>
          <a:bodyPr/>
          <a:lstStyle/>
          <a:p>
            <a:r>
              <a:rPr lang="en-US" i="0" dirty="0" err="1" smtClean="0"/>
              <a:t>Projeto</a:t>
            </a:r>
            <a:r>
              <a:rPr lang="en-US" i="0" dirty="0" smtClean="0"/>
              <a:t> novo </a:t>
            </a:r>
            <a:r>
              <a:rPr lang="en-US" i="0" dirty="0" err="1" smtClean="0"/>
              <a:t>Antifraude</a:t>
            </a:r>
            <a:r>
              <a:rPr lang="en-US" i="0" dirty="0" smtClean="0"/>
              <a:t> RAID-FMS</a:t>
            </a:r>
            <a:endParaRPr lang="en-US" i="0" dirty="0"/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321199" y="3111579"/>
            <a:ext cx="2785558" cy="42483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kern="1200" cap="all" baseline="0">
                <a:solidFill>
                  <a:schemeClr val="bg1"/>
                </a:solidFill>
                <a:latin typeface="Simplon BP"/>
                <a:ea typeface="+mn-ea"/>
                <a:cs typeface="Museo Sans 300"/>
              </a:defRPr>
            </a:lvl1pPr>
            <a:lvl2pPr marL="176213" indent="-176213" algn="l" defTabSz="457200" rtl="0" eaLnBrk="1" latinLnBrk="0" hangingPunct="1">
              <a:lnSpc>
                <a:spcPts val="2000"/>
              </a:lnSpc>
              <a:spcBef>
                <a:spcPts val="900"/>
              </a:spcBef>
              <a:buSzPct val="50000"/>
              <a:buFont typeface="Arial"/>
              <a:buChar char="•"/>
              <a:tabLst/>
              <a:defRPr sz="1800" b="0" i="0" kern="1200">
                <a:solidFill>
                  <a:schemeClr val="tx1"/>
                </a:solidFill>
                <a:latin typeface="Museo Sans 300"/>
                <a:ea typeface="+mn-ea"/>
                <a:cs typeface="Museo Sans 300"/>
              </a:defRPr>
            </a:lvl2pPr>
            <a:lvl3pPr marL="91440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b="0" i="0" kern="1200">
                <a:solidFill>
                  <a:schemeClr val="tx1"/>
                </a:solidFill>
                <a:latin typeface="Museo Sans 300"/>
                <a:ea typeface="+mn-ea"/>
                <a:cs typeface="Museo Sans 300"/>
              </a:defRPr>
            </a:lvl3pPr>
            <a:lvl4pPr marL="137160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400" b="0" i="0" kern="1200">
                <a:solidFill>
                  <a:schemeClr val="tx1"/>
                </a:solidFill>
                <a:latin typeface="Museo Sans 300"/>
                <a:ea typeface="+mn-ea"/>
                <a:cs typeface="Museo Sans 300"/>
              </a:defRPr>
            </a:lvl4pPr>
            <a:lvl5pPr marL="182880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400" b="0" i="0" kern="1200">
                <a:solidFill>
                  <a:schemeClr val="tx1"/>
                </a:solidFill>
                <a:latin typeface="Museo Sans 300"/>
                <a:ea typeface="+mn-ea"/>
                <a:cs typeface="Museo Sans 30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dirty="0" smtClean="0"/>
              <a:t>25 de SETEMBRO 2017</a:t>
            </a:r>
          </a:p>
          <a:p>
            <a:pPr>
              <a:lnSpc>
                <a:spcPct val="100000"/>
              </a:lnSpc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40685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Título 2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935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3600" dirty="0" smtClean="0">
                <a:solidFill>
                  <a:srgbClr val="FF6D00"/>
                </a:solidFill>
                <a:latin typeface="Simplon Oi Headline" pitchFamily="2" charset="0"/>
              </a:rPr>
              <a:t>Agenda </a:t>
            </a:r>
            <a:r>
              <a:rPr lang="en-US" sz="3600" dirty="0" err="1" smtClean="0">
                <a:solidFill>
                  <a:srgbClr val="FF6D00"/>
                </a:solidFill>
                <a:latin typeface="Simplon Oi Headline" pitchFamily="2" charset="0"/>
              </a:rPr>
              <a:t>semanal</a:t>
            </a:r>
            <a:r>
              <a:rPr lang="en-US" sz="3600" dirty="0" smtClean="0">
                <a:solidFill>
                  <a:srgbClr val="FF6D00"/>
                </a:solidFill>
                <a:latin typeface="Simplon Oi Headline" pitchFamily="2" charset="0"/>
              </a:rPr>
              <a:t> do </a:t>
            </a:r>
            <a:r>
              <a:rPr lang="en-US" sz="3600" dirty="0" err="1" smtClean="0">
                <a:solidFill>
                  <a:srgbClr val="FF6D00"/>
                </a:solidFill>
                <a:latin typeface="Simplon Oi Headline" pitchFamily="2" charset="0"/>
              </a:rPr>
              <a:t>projeto</a:t>
            </a:r>
            <a:endParaRPr lang="pt-BR" sz="3600" dirty="0">
              <a:solidFill>
                <a:srgbClr val="FF6D00"/>
              </a:solidFill>
              <a:latin typeface="Simplon Oi Headline" pitchFamily="2" charset="0"/>
            </a:endParaRPr>
          </a:p>
        </p:txBody>
      </p:sp>
      <p:sp>
        <p:nvSpPr>
          <p:cNvPr id="7" name="Text Box 81"/>
          <p:cNvSpPr txBox="1">
            <a:spLocks noChangeArrowheads="1"/>
          </p:cNvSpPr>
          <p:nvPr/>
        </p:nvSpPr>
        <p:spPr bwMode="auto">
          <a:xfrm>
            <a:off x="271293" y="1761518"/>
            <a:ext cx="1709907" cy="187068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88900" indent="-88900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Checkpoint </a:t>
            </a:r>
            <a:r>
              <a:rPr lang="pt-BR" sz="1200" dirty="0">
                <a:latin typeface="Simplon BP Regular" pitchFamily="2" charset="0"/>
              </a:rPr>
              <a:t>evolução de ações em andamento Core Team Oi</a:t>
            </a:r>
          </a:p>
          <a:p>
            <a:pPr marL="88900" indent="-88900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Checkpoint </a:t>
            </a:r>
            <a:r>
              <a:rPr lang="pt-BR" sz="1200" dirty="0">
                <a:latin typeface="Simplon BP Regular" pitchFamily="2" charset="0"/>
              </a:rPr>
              <a:t>executivo</a:t>
            </a:r>
          </a:p>
          <a:p>
            <a:pPr marL="88900" indent="-88900" algn="l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endParaRPr lang="pt-BR" sz="1200" dirty="0">
              <a:latin typeface="Simplon BP Regular" pitchFamily="2" charset="0"/>
            </a:endParaRPr>
          </a:p>
          <a:p>
            <a:pPr marL="88900" indent="-88900" algn="l">
              <a:spcAft>
                <a:spcPts val="600"/>
              </a:spcAft>
              <a:buClr>
                <a:schemeClr val="tx1"/>
              </a:buClr>
              <a:buSzPct val="75000"/>
            </a:pPr>
            <a:endParaRPr lang="pt-BR" sz="1200" dirty="0">
              <a:latin typeface="Simplon BP Regular" pitchFamily="2" charset="0"/>
            </a:endParaRPr>
          </a:p>
        </p:txBody>
      </p:sp>
      <p:graphicFrame>
        <p:nvGraphicFramePr>
          <p:cNvPr id="15" name="Diagrama 14"/>
          <p:cNvGraphicFramePr/>
          <p:nvPr>
            <p:extLst>
              <p:ext uri="{D42A27DB-BD31-4B8C-83A1-F6EECF244321}">
                <p14:modId xmlns:p14="http://schemas.microsoft.com/office/powerpoint/2010/main" val="1715971575"/>
              </p:ext>
            </p:extLst>
          </p:nvPr>
        </p:nvGraphicFramePr>
        <p:xfrm>
          <a:off x="195942" y="1170284"/>
          <a:ext cx="8752115" cy="4644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7" name="Text Box 83"/>
          <p:cNvSpPr txBox="1">
            <a:spLocks noChangeArrowheads="1"/>
          </p:cNvSpPr>
          <p:nvPr/>
        </p:nvSpPr>
        <p:spPr bwMode="auto">
          <a:xfrm>
            <a:off x="5575748" y="1779961"/>
            <a:ext cx="1587052" cy="185223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88900" indent="-88900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Status </a:t>
            </a:r>
            <a:r>
              <a:rPr lang="pt-BR" sz="1200" dirty="0" err="1" smtClean="0">
                <a:latin typeface="Simplon BP Regular" pitchFamily="2" charset="0"/>
              </a:rPr>
              <a:t>report</a:t>
            </a:r>
            <a:r>
              <a:rPr lang="pt-BR" sz="1200" dirty="0" smtClean="0">
                <a:latin typeface="Simplon BP Regular" pitchFamily="2" charset="0"/>
              </a:rPr>
              <a:t> Infra, Operações e Segurança da Informação.</a:t>
            </a:r>
          </a:p>
          <a:p>
            <a:pPr marL="88900" indent="-88900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>
                <a:latin typeface="Simplon BP Regular" pitchFamily="2" charset="0"/>
              </a:rPr>
              <a:t>Checkpoint WEDO</a:t>
            </a:r>
          </a:p>
          <a:p>
            <a:pPr marL="88900" indent="-88900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endParaRPr lang="pt-BR" sz="1200" dirty="0">
              <a:latin typeface="Simplon BP Regula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2399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Título 2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935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3600" dirty="0" err="1" smtClean="0">
                <a:solidFill>
                  <a:srgbClr val="FF6D00"/>
                </a:solidFill>
                <a:latin typeface="Simplon Oi Headline" pitchFamily="2" charset="0"/>
              </a:rPr>
              <a:t>Resumo</a:t>
            </a:r>
            <a:r>
              <a:rPr lang="en-US" sz="3600" dirty="0" smtClean="0">
                <a:solidFill>
                  <a:srgbClr val="FF6D00"/>
                </a:solidFill>
                <a:latin typeface="Simplon Oi Headline" pitchFamily="2" charset="0"/>
              </a:rPr>
              <a:t> </a:t>
            </a:r>
            <a:r>
              <a:rPr lang="en-US" sz="3600" dirty="0" err="1" smtClean="0">
                <a:solidFill>
                  <a:srgbClr val="FF6D00"/>
                </a:solidFill>
                <a:latin typeface="Simplon Oi Headline" pitchFamily="2" charset="0"/>
              </a:rPr>
              <a:t>financeiro</a:t>
            </a:r>
            <a:endParaRPr lang="pt-BR" sz="3600" dirty="0">
              <a:solidFill>
                <a:srgbClr val="FF6D00"/>
              </a:solidFill>
              <a:latin typeface="Simplon Oi Headline" pitchFamily="2" charset="0"/>
            </a:endParaRPr>
          </a:p>
        </p:txBody>
      </p:sp>
      <p:sp>
        <p:nvSpPr>
          <p:cNvPr id="16" name="Text Box 83"/>
          <p:cNvSpPr txBox="1">
            <a:spLocks noChangeArrowheads="1"/>
          </p:cNvSpPr>
          <p:nvPr/>
        </p:nvSpPr>
        <p:spPr bwMode="auto">
          <a:xfrm>
            <a:off x="7214048" y="1767261"/>
            <a:ext cx="1587052" cy="186493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88900" indent="-88900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Checkpoint executivo</a:t>
            </a:r>
            <a:endParaRPr lang="pt-BR" sz="1200" dirty="0">
              <a:latin typeface="Simplon BP Regular" pitchFamily="2" charset="0"/>
            </a:endParaRPr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313" y="932061"/>
            <a:ext cx="5601981" cy="279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67061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Título 2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935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3600" dirty="0" err="1" smtClean="0">
                <a:solidFill>
                  <a:srgbClr val="FF6D00"/>
                </a:solidFill>
                <a:latin typeface="Simplon Oi Headline" pitchFamily="2" charset="0"/>
              </a:rPr>
              <a:t>Próximos</a:t>
            </a:r>
            <a:r>
              <a:rPr lang="en-US" sz="3600" dirty="0" smtClean="0">
                <a:solidFill>
                  <a:srgbClr val="FF6D00"/>
                </a:solidFill>
                <a:latin typeface="Simplon Oi Headline" pitchFamily="2" charset="0"/>
              </a:rPr>
              <a:t> </a:t>
            </a:r>
            <a:r>
              <a:rPr lang="en-US" sz="3600" dirty="0" err="1" smtClean="0">
                <a:solidFill>
                  <a:srgbClr val="FF6D00"/>
                </a:solidFill>
                <a:latin typeface="Simplon Oi Headline" pitchFamily="2" charset="0"/>
              </a:rPr>
              <a:t>passos</a:t>
            </a:r>
            <a:endParaRPr lang="pt-BR" sz="3600" dirty="0">
              <a:solidFill>
                <a:srgbClr val="FF6D00"/>
              </a:solidFill>
              <a:latin typeface="Simplon Oi Headline" pitchFamily="2" charset="0"/>
            </a:endParaRPr>
          </a:p>
        </p:txBody>
      </p:sp>
      <p:sp>
        <p:nvSpPr>
          <p:cNvPr id="7" name="Text Box 81"/>
          <p:cNvSpPr txBox="1">
            <a:spLocks noChangeArrowheads="1"/>
          </p:cNvSpPr>
          <p:nvPr/>
        </p:nvSpPr>
        <p:spPr bwMode="auto">
          <a:xfrm>
            <a:off x="931693" y="1748818"/>
            <a:ext cx="2402057" cy="339468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171450" indent="-171450" algn="l">
              <a:spcAft>
                <a:spcPts val="600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ü"/>
            </a:pPr>
            <a:r>
              <a:rPr lang="pt-BR" sz="1200" dirty="0" smtClean="0">
                <a:latin typeface="Simplon BP Regular" pitchFamily="2" charset="0"/>
              </a:rPr>
              <a:t>Mobilização Infra e Operações</a:t>
            </a:r>
          </a:p>
          <a:p>
            <a:pPr marL="171450" indent="-171450" algn="l">
              <a:spcAft>
                <a:spcPts val="600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ü"/>
            </a:pPr>
            <a:r>
              <a:rPr lang="pt-BR" sz="1200" dirty="0" smtClean="0">
                <a:latin typeface="Simplon BP Regular" pitchFamily="2" charset="0"/>
              </a:rPr>
              <a:t>Elaboração SD e </a:t>
            </a:r>
            <a:r>
              <a:rPr lang="pt-BR" sz="1200" dirty="0" err="1" smtClean="0">
                <a:latin typeface="Simplon BP Regular" pitchFamily="2" charset="0"/>
              </a:rPr>
              <a:t>checklist</a:t>
            </a:r>
            <a:r>
              <a:rPr lang="pt-BR" sz="1200" dirty="0" smtClean="0">
                <a:latin typeface="Simplon BP Regular" pitchFamily="2" charset="0"/>
              </a:rPr>
              <a:t> de infra.</a:t>
            </a:r>
            <a:endParaRPr lang="pt-BR" sz="1200" dirty="0">
              <a:latin typeface="Simplon BP Regular" pitchFamily="2" charset="0"/>
            </a:endParaRPr>
          </a:p>
          <a:p>
            <a:pPr marL="171450" indent="-171450" algn="l">
              <a:spcAft>
                <a:spcPts val="600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ü"/>
            </a:pPr>
            <a:r>
              <a:rPr lang="pt-BR" sz="1200" dirty="0" smtClean="0">
                <a:latin typeface="Simplon BP Regular" pitchFamily="2" charset="0"/>
              </a:rPr>
              <a:t>Abertura de PRJ24506 no CA.</a:t>
            </a:r>
          </a:p>
          <a:p>
            <a:pPr algn="l">
              <a:spcAft>
                <a:spcPts val="600"/>
              </a:spcAft>
              <a:buClr>
                <a:schemeClr val="tx1"/>
              </a:buClr>
              <a:buSzPct val="75000"/>
            </a:pPr>
            <a:endParaRPr lang="pt-BR" sz="1200" dirty="0" smtClean="0">
              <a:latin typeface="Simplon BP Regular" pitchFamily="2" charset="0"/>
            </a:endParaRPr>
          </a:p>
          <a:p>
            <a:pPr algn="l">
              <a:spcAft>
                <a:spcPts val="600"/>
              </a:spcAft>
              <a:buClr>
                <a:schemeClr val="tx1"/>
              </a:buClr>
              <a:buSzPct val="75000"/>
            </a:pPr>
            <a:r>
              <a:rPr lang="pt-BR" sz="1200" dirty="0" smtClean="0">
                <a:latin typeface="Simplon BP Regular" pitchFamily="2" charset="0"/>
              </a:rPr>
              <a:t>Em andamento:</a:t>
            </a:r>
            <a:endParaRPr lang="pt-BR" sz="1200" dirty="0">
              <a:latin typeface="Simplon BP Regular" pitchFamily="2" charset="0"/>
            </a:endParaRPr>
          </a:p>
          <a:p>
            <a:pPr marL="88900" indent="-88900" algn="l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Revalidação de premissas </a:t>
            </a:r>
            <a:r>
              <a:rPr lang="pt-BR" sz="1200" dirty="0" err="1" smtClean="0">
                <a:latin typeface="Simplon BP Regular" pitchFamily="2" charset="0"/>
              </a:rPr>
              <a:t>sizing</a:t>
            </a:r>
            <a:r>
              <a:rPr lang="pt-BR" sz="1200" dirty="0" smtClean="0">
                <a:latin typeface="Simplon BP Regular" pitchFamily="2" charset="0"/>
              </a:rPr>
              <a:t> HW</a:t>
            </a:r>
          </a:p>
          <a:p>
            <a:pPr marL="88900" indent="-88900" algn="l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Validação de requisitos técnicos e definição da arquitetura técnica.</a:t>
            </a:r>
          </a:p>
          <a:p>
            <a:pPr marL="88900" indent="-88900" algn="l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Planejamento de entrega e integração da infra</a:t>
            </a:r>
            <a:endParaRPr lang="pt-BR" sz="1200" dirty="0">
              <a:latin typeface="Simplon BP Regular" pitchFamily="2" charset="0"/>
            </a:endParaRPr>
          </a:p>
          <a:p>
            <a:pPr marL="88900" indent="-88900" algn="l">
              <a:spcAft>
                <a:spcPts val="600"/>
              </a:spcAft>
              <a:buClr>
                <a:schemeClr val="tx1"/>
              </a:buClr>
              <a:buSzPct val="75000"/>
            </a:pPr>
            <a:endParaRPr lang="pt-BR" sz="1200" dirty="0">
              <a:latin typeface="Simplon BP Regular" pitchFamily="2" charset="0"/>
            </a:endParaRPr>
          </a:p>
        </p:txBody>
      </p:sp>
      <p:sp>
        <p:nvSpPr>
          <p:cNvPr id="8" name="Text Box 82"/>
          <p:cNvSpPr txBox="1">
            <a:spLocks noChangeArrowheads="1"/>
          </p:cNvSpPr>
          <p:nvPr/>
        </p:nvSpPr>
        <p:spPr bwMode="auto">
          <a:xfrm>
            <a:off x="3434825" y="1788902"/>
            <a:ext cx="1708675" cy="264050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171450" indent="-171450">
              <a:spcAft>
                <a:spcPts val="600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ü"/>
            </a:pPr>
            <a:r>
              <a:rPr lang="pt-BR" sz="1200" dirty="0">
                <a:latin typeface="Simplon BP Regular" pitchFamily="2" charset="0"/>
              </a:rPr>
              <a:t>Mobilização </a:t>
            </a:r>
            <a:r>
              <a:rPr lang="pt-BR" sz="1200" dirty="0" smtClean="0">
                <a:latin typeface="Simplon BP Regular" pitchFamily="2" charset="0"/>
              </a:rPr>
              <a:t>de Segurança da Informação.</a:t>
            </a:r>
            <a:endParaRPr lang="pt-BR" sz="1200" dirty="0">
              <a:latin typeface="Simplon BP Regular" pitchFamily="2" charset="0"/>
            </a:endParaRPr>
          </a:p>
          <a:p>
            <a:pPr algn="l">
              <a:spcAft>
                <a:spcPts val="600"/>
              </a:spcAft>
              <a:buClr>
                <a:schemeClr val="tx1"/>
              </a:buClr>
              <a:buSzPct val="75000"/>
            </a:pPr>
            <a:endParaRPr lang="pt-BR" sz="1200" dirty="0" smtClean="0">
              <a:latin typeface="Simplon BP Regular" pitchFamily="2" charset="0"/>
            </a:endParaRPr>
          </a:p>
          <a:p>
            <a:pPr algn="l">
              <a:spcAft>
                <a:spcPts val="600"/>
              </a:spcAft>
              <a:buClr>
                <a:schemeClr val="tx1"/>
              </a:buClr>
              <a:buSzPct val="75000"/>
            </a:pPr>
            <a:r>
              <a:rPr lang="pt-BR" sz="1200" dirty="0" smtClean="0">
                <a:latin typeface="Simplon BP Regular" pitchFamily="2" charset="0"/>
              </a:rPr>
              <a:t>A iniciar:</a:t>
            </a:r>
          </a:p>
          <a:p>
            <a:pPr marL="171450" indent="-171450" algn="l">
              <a:spcAft>
                <a:spcPts val="600"/>
              </a:spcAft>
              <a:buClr>
                <a:schemeClr val="tx1"/>
              </a:buClr>
              <a:buSzPct val="75000"/>
              <a:buFont typeface="Arial" panose="020B0604020202020204" pitchFamily="34" charset="0"/>
              <a:buChar char="•"/>
            </a:pPr>
            <a:r>
              <a:rPr lang="pt-BR" sz="1200" dirty="0" smtClean="0">
                <a:latin typeface="Simplon BP Regular" pitchFamily="2" charset="0"/>
              </a:rPr>
              <a:t>Validação de politica de acessos</a:t>
            </a:r>
          </a:p>
          <a:p>
            <a:pPr marL="171450" indent="-171450" algn="l">
              <a:spcAft>
                <a:spcPts val="600"/>
              </a:spcAft>
              <a:buClr>
                <a:schemeClr val="tx1"/>
              </a:buClr>
              <a:buSzPct val="75000"/>
              <a:buFont typeface="Arial" panose="020B0604020202020204" pitchFamily="34" charset="0"/>
              <a:buChar char="•"/>
            </a:pPr>
            <a:r>
              <a:rPr lang="pt-BR" sz="1200" dirty="0" smtClean="0">
                <a:latin typeface="Simplon BP Regular" pitchFamily="2" charset="0"/>
              </a:rPr>
              <a:t>Validação de politicas de segurança de aplicação e dados</a:t>
            </a:r>
          </a:p>
          <a:p>
            <a:pPr marL="171450" indent="-171450" algn="l">
              <a:spcAft>
                <a:spcPts val="600"/>
              </a:spcAft>
              <a:buClr>
                <a:schemeClr val="tx1"/>
              </a:buClr>
              <a:buSzPct val="75000"/>
              <a:buFont typeface="Arial" panose="020B0604020202020204" pitchFamily="34" charset="0"/>
              <a:buChar char="•"/>
            </a:pPr>
            <a:r>
              <a:rPr lang="pt-BR" sz="1200" dirty="0" smtClean="0">
                <a:latin typeface="Simplon BP Regular" pitchFamily="2" charset="0"/>
              </a:rPr>
              <a:t>Elaboração de relatório de vulnerabilidades</a:t>
            </a:r>
          </a:p>
        </p:txBody>
      </p:sp>
      <p:sp>
        <p:nvSpPr>
          <p:cNvPr id="9" name="Text Box 83"/>
          <p:cNvSpPr txBox="1">
            <a:spLocks noChangeArrowheads="1"/>
          </p:cNvSpPr>
          <p:nvPr/>
        </p:nvSpPr>
        <p:spPr bwMode="auto">
          <a:xfrm>
            <a:off x="5404298" y="1748818"/>
            <a:ext cx="1587052" cy="264050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88900" indent="-88900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Elaboração de DSOL, protótipo de telas da solução </a:t>
            </a:r>
            <a:r>
              <a:rPr lang="pt-BR" sz="1200" dirty="0" err="1" smtClean="0">
                <a:latin typeface="Simplon BP Regular" pitchFamily="2" charset="0"/>
              </a:rPr>
              <a:t>vanila</a:t>
            </a:r>
            <a:r>
              <a:rPr lang="pt-BR" sz="1200" dirty="0" smtClean="0">
                <a:latin typeface="Simplon BP Regular" pitchFamily="2" charset="0"/>
              </a:rPr>
              <a:t> e </a:t>
            </a:r>
            <a:r>
              <a:rPr lang="pt-BR" sz="1200" dirty="0" err="1">
                <a:latin typeface="Simplon BP Regular" pitchFamily="2" charset="0"/>
              </a:rPr>
              <a:t>r</a:t>
            </a:r>
            <a:r>
              <a:rPr lang="pt-BR" sz="1200" dirty="0" err="1" smtClean="0">
                <a:latin typeface="Simplon BP Regular" pitchFamily="2" charset="0"/>
              </a:rPr>
              <a:t>unbook</a:t>
            </a:r>
            <a:r>
              <a:rPr lang="pt-BR" sz="1200" dirty="0" smtClean="0">
                <a:latin typeface="Simplon BP Regular" pitchFamily="2" charset="0"/>
              </a:rPr>
              <a:t> de operações.</a:t>
            </a:r>
          </a:p>
          <a:p>
            <a:pPr marL="88900" indent="-88900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Disponibilização de manual com modelo de dados e módulos </a:t>
            </a:r>
            <a:r>
              <a:rPr lang="pt-BR" sz="1200" dirty="0" err="1" smtClean="0">
                <a:latin typeface="Simplon BP Regular" pitchFamily="2" charset="0"/>
              </a:rPr>
              <a:t>vanila</a:t>
            </a:r>
            <a:r>
              <a:rPr lang="pt-BR" sz="1200" dirty="0" smtClean="0">
                <a:latin typeface="Simplon BP Regular" pitchFamily="2" charset="0"/>
              </a:rPr>
              <a:t>.</a:t>
            </a:r>
          </a:p>
          <a:p>
            <a:pPr marL="88900" indent="-88900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Treinamento RAID-FMS </a:t>
            </a:r>
            <a:r>
              <a:rPr lang="pt-BR" sz="1200" dirty="0" err="1" smtClean="0">
                <a:latin typeface="Simplon BP Regular" pitchFamily="2" charset="0"/>
              </a:rPr>
              <a:t>vanila</a:t>
            </a:r>
            <a:endParaRPr lang="pt-BR" sz="1200" dirty="0" smtClean="0">
              <a:latin typeface="Simplon BP Regular" pitchFamily="2" charset="0"/>
            </a:endParaRPr>
          </a:p>
          <a:p>
            <a:pPr marL="88900" indent="-88900" algn="l">
              <a:spcAft>
                <a:spcPts val="600"/>
              </a:spcAft>
              <a:buClr>
                <a:schemeClr val="tx1"/>
              </a:buClr>
              <a:buSzPct val="75000"/>
            </a:pPr>
            <a:endParaRPr lang="pt-BR" sz="1200" dirty="0">
              <a:latin typeface="Simplon BP Regular" pitchFamily="2" charset="0"/>
            </a:endParaRPr>
          </a:p>
        </p:txBody>
      </p:sp>
      <p:sp>
        <p:nvSpPr>
          <p:cNvPr id="2" name="Estrela de 5 pontas 1"/>
          <p:cNvSpPr/>
          <p:nvPr/>
        </p:nvSpPr>
        <p:spPr>
          <a:xfrm>
            <a:off x="403965" y="1754561"/>
            <a:ext cx="266328" cy="266328"/>
          </a:xfrm>
          <a:prstGeom prst="star5">
            <a:avLst/>
          </a:prstGeom>
          <a:solidFill>
            <a:srgbClr val="FF6D00"/>
          </a:solidFill>
          <a:ln>
            <a:solidFill>
              <a:srgbClr val="FF6D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sz="1400" dirty="0" smtClean="0">
              <a:latin typeface="Simplon BP Regular"/>
              <a:cs typeface="Simplon BP Regular"/>
            </a:endParaRPr>
          </a:p>
        </p:txBody>
      </p:sp>
      <p:sp>
        <p:nvSpPr>
          <p:cNvPr id="23" name="CaixaDeTexto 22"/>
          <p:cNvSpPr txBox="1"/>
          <p:nvPr/>
        </p:nvSpPr>
        <p:spPr>
          <a:xfrm>
            <a:off x="134148" y="2082149"/>
            <a:ext cx="794658" cy="442035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pt-BR" sz="1200" dirty="0" smtClean="0">
                <a:latin typeface="Simplon BP Regular" pitchFamily="2" charset="0"/>
                <a:ea typeface="Simplon BP" charset="0"/>
                <a:cs typeface="Simplon BP" charset="0"/>
              </a:rPr>
              <a:t>Estamos aqui!</a:t>
            </a:r>
          </a:p>
        </p:txBody>
      </p:sp>
      <p:graphicFrame>
        <p:nvGraphicFramePr>
          <p:cNvPr id="15" name="Diagrama 14"/>
          <p:cNvGraphicFramePr/>
          <p:nvPr>
            <p:extLst>
              <p:ext uri="{D42A27DB-BD31-4B8C-83A1-F6EECF244321}">
                <p14:modId xmlns:p14="http://schemas.microsoft.com/office/powerpoint/2010/main" val="4072615075"/>
              </p:ext>
            </p:extLst>
          </p:nvPr>
        </p:nvGraphicFramePr>
        <p:xfrm>
          <a:off x="195942" y="1157584"/>
          <a:ext cx="8752115" cy="4644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6" name="Text Box 83"/>
          <p:cNvSpPr txBox="1">
            <a:spLocks noChangeArrowheads="1"/>
          </p:cNvSpPr>
          <p:nvPr/>
        </p:nvSpPr>
        <p:spPr bwMode="auto">
          <a:xfrm>
            <a:off x="7214048" y="1754561"/>
            <a:ext cx="1587052" cy="264050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88900" indent="-88900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Elaboração de plano de atividades de levantamento de processos de negócio, detalhamento de regras, cenários de testes e critérios de aceitação para as ondas previstas.</a:t>
            </a:r>
          </a:p>
          <a:p>
            <a:pPr marL="88900" indent="-88900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Abertura de PRJ no CA</a:t>
            </a:r>
          </a:p>
          <a:p>
            <a:pPr marL="88900" indent="-88900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Análise de impactos e elaboração de DAS pelo time de Arquitetura.</a:t>
            </a:r>
          </a:p>
          <a:p>
            <a:pPr marL="88900" indent="-88900" algn="l">
              <a:spcAft>
                <a:spcPts val="600"/>
              </a:spcAft>
              <a:buClr>
                <a:schemeClr val="tx1"/>
              </a:buClr>
              <a:buSzPct val="75000"/>
            </a:pPr>
            <a:endParaRPr lang="pt-BR" sz="1200" dirty="0">
              <a:latin typeface="Simplon BP Regula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96395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Espaço Reservado para Imagem 7"/>
          <p:cNvPicPr>
            <a:picLocks noGrp="1" noChangeAspect="1"/>
          </p:cNvPicPr>
          <p:nvPr>
            <p:ph type="pic" sz="quarter" idx="38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78" t="643" r="-541" b="-2406"/>
          <a:stretch/>
        </p:blipFill>
        <p:spPr>
          <a:xfrm>
            <a:off x="3686623" y="735494"/>
            <a:ext cx="4711547" cy="3755533"/>
          </a:xfrm>
        </p:spPr>
      </p:pic>
      <p:pic>
        <p:nvPicPr>
          <p:cNvPr id="2" name="Espaço Reservado para Imagem 1"/>
          <p:cNvPicPr>
            <a:picLocks noGrp="1" noChangeAspect="1"/>
          </p:cNvPicPr>
          <p:nvPr>
            <p:ph type="pic" sz="quarter" idx="35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85" t="179" r="-1009" b="-219"/>
          <a:stretch/>
        </p:blipFill>
        <p:spPr>
          <a:xfrm>
            <a:off x="323037" y="3016218"/>
            <a:ext cx="2448000" cy="1440563"/>
          </a:xfrm>
        </p:spPr>
      </p:pic>
      <p:sp>
        <p:nvSpPr>
          <p:cNvPr id="19" name="Text Placeholder 18"/>
          <p:cNvSpPr>
            <a:spLocks noGrp="1"/>
          </p:cNvSpPr>
          <p:nvPr>
            <p:ph type="body" sz="quarter" idx="27"/>
          </p:nvPr>
        </p:nvSpPr>
        <p:spPr>
          <a:xfrm>
            <a:off x="323037" y="4522159"/>
            <a:ext cx="2435237" cy="387694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 dirty="0" smtClean="0"/>
              <a:t>AF TRÁFEGO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23037" y="181590"/>
            <a:ext cx="8297088" cy="837285"/>
          </a:xfrm>
        </p:spPr>
        <p:txBody>
          <a:bodyPr/>
          <a:lstStyle/>
          <a:p>
            <a:r>
              <a:rPr lang="en-US" sz="3200" dirty="0" err="1" smtClean="0"/>
              <a:t>Arquitetura</a:t>
            </a:r>
            <a:r>
              <a:rPr lang="en-US" sz="3200" dirty="0" smtClean="0"/>
              <a:t> AF OI -&gt; EVOLUÇÂO RAID-FMS</a:t>
            </a:r>
            <a:endParaRPr lang="en-US" sz="3200" dirty="0"/>
          </a:p>
        </p:txBody>
      </p:sp>
      <p:pic>
        <p:nvPicPr>
          <p:cNvPr id="7" name="Espaço Reservado para Imagem 6"/>
          <p:cNvPicPr>
            <a:picLocks noGrp="1" noChangeAspect="1"/>
          </p:cNvPicPr>
          <p:nvPr>
            <p:ph type="pic" sz="quarter" idx="37"/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85" t="-166" r="-1008" b="212"/>
          <a:stretch/>
        </p:blipFill>
        <p:spPr>
          <a:xfrm>
            <a:off x="323037" y="825807"/>
            <a:ext cx="2448000" cy="1619251"/>
          </a:xfrm>
        </p:spPr>
      </p:pic>
      <p:sp>
        <p:nvSpPr>
          <p:cNvPr id="20" name="Text Placeholder 19"/>
          <p:cNvSpPr>
            <a:spLocks noGrp="1"/>
          </p:cNvSpPr>
          <p:nvPr>
            <p:ph type="body" sz="quarter" idx="39"/>
          </p:nvPr>
        </p:nvSpPr>
        <p:spPr>
          <a:xfrm>
            <a:off x="323037" y="2519078"/>
            <a:ext cx="2435237" cy="387694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SUBSCRIÇÂO ON-LINE</a:t>
            </a:r>
            <a:endParaRPr lang="en-US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40"/>
          </p:nvPr>
        </p:nvSpPr>
        <p:spPr>
          <a:xfrm>
            <a:off x="3643081" y="4522159"/>
            <a:ext cx="4711547" cy="387694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r>
              <a:rPr lang="en-US" dirty="0" smtClean="0"/>
              <a:t>RAID-FMS O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8299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26"/>
          </p:nvPr>
        </p:nvSpPr>
        <p:spPr>
          <a:xfrm>
            <a:off x="4869454" y="1438804"/>
            <a:ext cx="3396425" cy="2348188"/>
          </a:xfrm>
        </p:spPr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>
                <a:latin typeface="Simplon BP Bold"/>
                <a:cs typeface="Simplon BP Bold"/>
              </a:rPr>
              <a:pPr/>
              <a:t>14</a:t>
            </a:fld>
            <a:endParaRPr lang="en-US">
              <a:latin typeface="Simplon BP Bold"/>
              <a:cs typeface="Simplon BP Bold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7"/>
          </p:nvPr>
        </p:nvSpPr>
        <p:spPr>
          <a:xfrm>
            <a:off x="323037" y="4125320"/>
            <a:ext cx="2729159" cy="387694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AMBIENTES DEV/HM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23037" y="267315"/>
            <a:ext cx="7942843" cy="837285"/>
          </a:xfrm>
        </p:spPr>
        <p:txBody>
          <a:bodyPr/>
          <a:lstStyle/>
          <a:p>
            <a:r>
              <a:rPr lang="en-US" dirty="0" err="1" smtClean="0"/>
              <a:t>Arquitetura</a:t>
            </a:r>
            <a:r>
              <a:rPr lang="en-US" dirty="0" smtClean="0"/>
              <a:t> FISICA RAID-FMS (draft)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28"/>
          </p:nvPr>
        </p:nvSpPr>
        <p:spPr>
          <a:xfrm>
            <a:off x="4869454" y="4125320"/>
            <a:ext cx="3396425" cy="387694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AMBIENTE PRODUTIVO</a:t>
            </a:r>
            <a:endParaRPr lang="en-US" dirty="0"/>
          </a:p>
        </p:txBody>
      </p:sp>
      <p:sp>
        <p:nvSpPr>
          <p:cNvPr id="4" name="Espaço Reservado para Imagem 3"/>
          <p:cNvSpPr>
            <a:spLocks noGrp="1"/>
          </p:cNvSpPr>
          <p:nvPr>
            <p:ph type="pic" sz="quarter" idx="24"/>
          </p:nvPr>
        </p:nvSpPr>
        <p:spPr/>
      </p:sp>
    </p:spTree>
    <p:extLst>
      <p:ext uri="{BB962C8B-B14F-4D97-AF65-F5344CB8AC3E}">
        <p14:creationId xmlns:p14="http://schemas.microsoft.com/office/powerpoint/2010/main" val="3066317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9"/>
          </p:nvPr>
        </p:nvSpPr>
        <p:spPr>
          <a:xfrm>
            <a:off x="323037" y="1509689"/>
            <a:ext cx="6085553" cy="289600"/>
          </a:xfrm>
          <a:prstGeom prst="rect">
            <a:avLst/>
          </a:prstGeom>
        </p:spPr>
        <p:txBody>
          <a:bodyPr/>
          <a:lstStyle/>
          <a:p>
            <a:r>
              <a:rPr lang="en-US" dirty="0" err="1" smtClean="0">
                <a:latin typeface="Simplon BP Regular"/>
                <a:cs typeface="Simplon BP Regular"/>
              </a:rPr>
              <a:t>Migração</a:t>
            </a:r>
            <a:r>
              <a:rPr lang="en-US" dirty="0" smtClean="0">
                <a:latin typeface="Simplon BP Regular"/>
                <a:cs typeface="Simplon BP Regular"/>
              </a:rPr>
              <a:t> de dados e </a:t>
            </a:r>
            <a:r>
              <a:rPr lang="en-US" dirty="0" err="1" smtClean="0">
                <a:latin typeface="Simplon BP Regular"/>
                <a:cs typeface="Simplon BP Regular"/>
              </a:rPr>
              <a:t>integração</a:t>
            </a:r>
            <a:r>
              <a:rPr lang="en-US" dirty="0" smtClean="0">
                <a:latin typeface="Simplon BP Regular"/>
                <a:cs typeface="Simplon BP Regular"/>
              </a:rPr>
              <a:t> Hadoop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Principais</a:t>
            </a:r>
            <a:r>
              <a:rPr lang="en-US" dirty="0" smtClean="0"/>
              <a:t> </a:t>
            </a:r>
            <a:r>
              <a:rPr lang="en-US" dirty="0" err="1" smtClean="0"/>
              <a:t>premissas</a:t>
            </a:r>
            <a:r>
              <a:rPr lang="en-US" dirty="0" smtClean="0"/>
              <a:t> e </a:t>
            </a:r>
            <a:r>
              <a:rPr lang="en-US" dirty="0" err="1" smtClean="0"/>
              <a:t>restrições</a:t>
            </a:r>
            <a:r>
              <a:rPr lang="en-US" dirty="0" smtClean="0"/>
              <a:t> (PT WEDO)</a:t>
            </a:r>
            <a:endParaRPr lang="en-US" dirty="0"/>
          </a:p>
        </p:txBody>
      </p:sp>
      <p:sp>
        <p:nvSpPr>
          <p:cNvPr id="4" name="Retângulo 3"/>
          <p:cNvSpPr/>
          <p:nvPr/>
        </p:nvSpPr>
        <p:spPr>
          <a:xfrm>
            <a:off x="221436" y="1772473"/>
            <a:ext cx="6369864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200" dirty="0">
                <a:latin typeface="Simplon BP Regular" pitchFamily="2" charset="0"/>
              </a:rPr>
              <a:t>A Oi deverá fornecer a documentação dos sistemas a serem migrados. </a:t>
            </a:r>
            <a:endParaRPr lang="pt-BR" sz="1200" dirty="0" smtClean="0">
              <a:latin typeface="Simplon BP Regular" pitchFamily="2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200" dirty="0" smtClean="0">
                <a:latin typeface="Simplon BP Regular" pitchFamily="2" charset="0"/>
              </a:rPr>
              <a:t>A </a:t>
            </a:r>
            <a:r>
              <a:rPr lang="pt-BR" sz="1200" dirty="0">
                <a:latin typeface="Simplon BP Regular" pitchFamily="2" charset="0"/>
              </a:rPr>
              <a:t>Oi deverá fornecer o dicionário de dados das tabelas envolvidas na migração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200" dirty="0" smtClean="0">
                <a:latin typeface="Simplon BP Regular" pitchFamily="2" charset="0"/>
              </a:rPr>
              <a:t>A </a:t>
            </a:r>
            <a:r>
              <a:rPr lang="pt-BR" sz="1200" dirty="0">
                <a:latin typeface="Simplon BP Regular" pitchFamily="2" charset="0"/>
              </a:rPr>
              <a:t>Oi deverá suportar a </a:t>
            </a:r>
            <a:r>
              <a:rPr lang="pt-BR" sz="1200" dirty="0" err="1">
                <a:latin typeface="Simplon BP Regular" pitchFamily="2" charset="0"/>
              </a:rPr>
              <a:t>WeDo</a:t>
            </a:r>
            <a:r>
              <a:rPr lang="pt-BR" sz="1200" dirty="0">
                <a:latin typeface="Simplon BP Regular" pitchFamily="2" charset="0"/>
              </a:rPr>
              <a:t> na migração dos dados do sistema atual de gestão de fraudes para a nova </a:t>
            </a:r>
            <a:r>
              <a:rPr lang="pt-BR" sz="1200" dirty="0" smtClean="0">
                <a:latin typeface="Simplon BP Regular" pitchFamily="2" charset="0"/>
              </a:rPr>
              <a:t>solução, onde serão considerados no processo de migração:</a:t>
            </a:r>
          </a:p>
          <a:p>
            <a:pPr lvl="1"/>
            <a:r>
              <a:rPr lang="pt-BR" sz="1200" dirty="0" smtClean="0">
                <a:latin typeface="Simplon BP Regular" pitchFamily="2" charset="0"/>
              </a:rPr>
              <a:t>-   </a:t>
            </a:r>
            <a:r>
              <a:rPr lang="pt-BR" sz="1200" dirty="0" err="1" smtClean="0">
                <a:latin typeface="Simplon BP Regular" pitchFamily="2" charset="0"/>
              </a:rPr>
              <a:t>Hotlists</a:t>
            </a:r>
            <a:r>
              <a:rPr lang="pt-BR" sz="1200" dirty="0" smtClean="0">
                <a:latin typeface="Simplon BP Regular" pitchFamily="2" charset="0"/>
              </a:rPr>
              <a:t> </a:t>
            </a:r>
            <a:r>
              <a:rPr lang="pt-BR" sz="1200" dirty="0">
                <a:latin typeface="Simplon BP Regular" pitchFamily="2" charset="0"/>
              </a:rPr>
              <a:t>e </a:t>
            </a:r>
            <a:r>
              <a:rPr lang="pt-BR" sz="1200" dirty="0" err="1">
                <a:latin typeface="Simplon BP Regular" pitchFamily="2" charset="0"/>
              </a:rPr>
              <a:t>whitelists</a:t>
            </a:r>
            <a:r>
              <a:rPr lang="pt-BR" sz="1200" dirty="0">
                <a:latin typeface="Simplon BP Regular" pitchFamily="2" charset="0"/>
              </a:rPr>
              <a:t> existentes. </a:t>
            </a:r>
          </a:p>
          <a:p>
            <a:pPr marL="628650" lvl="1" indent="-171450">
              <a:buFontTx/>
              <a:buChar char="-"/>
            </a:pPr>
            <a:r>
              <a:rPr lang="pt-BR" sz="1200" dirty="0" smtClean="0">
                <a:latin typeface="Simplon BP Regular" pitchFamily="2" charset="0"/>
              </a:rPr>
              <a:t>Casos </a:t>
            </a:r>
            <a:r>
              <a:rPr lang="pt-BR" sz="1200" dirty="0">
                <a:latin typeface="Simplon BP Regular" pitchFamily="2" charset="0"/>
              </a:rPr>
              <a:t>de fraude por entidade (MSISDN, IMEI, </a:t>
            </a:r>
            <a:r>
              <a:rPr lang="pt-BR" sz="1200" dirty="0" err="1">
                <a:latin typeface="Simplon BP Regular" pitchFamily="2" charset="0"/>
              </a:rPr>
              <a:t>Dealer</a:t>
            </a:r>
            <a:r>
              <a:rPr lang="pt-BR" sz="1200" dirty="0">
                <a:latin typeface="Simplon BP Regular" pitchFamily="2" charset="0"/>
              </a:rPr>
              <a:t>, </a:t>
            </a:r>
            <a:r>
              <a:rPr lang="pt-BR" sz="1200" dirty="0" err="1">
                <a:latin typeface="Simplon BP Regular" pitchFamily="2" charset="0"/>
              </a:rPr>
              <a:t>etc</a:t>
            </a:r>
            <a:r>
              <a:rPr lang="pt-BR" sz="1200" dirty="0" smtClean="0">
                <a:latin typeface="Simplon BP Regular" pitchFamily="2" charset="0"/>
              </a:rPr>
              <a:t>) </a:t>
            </a:r>
          </a:p>
          <a:p>
            <a:pPr marL="628650" lvl="1" indent="-171450">
              <a:buFontTx/>
              <a:buChar char="-"/>
            </a:pPr>
            <a:r>
              <a:rPr lang="pt-BR" sz="1200" dirty="0" smtClean="0">
                <a:latin typeface="Simplon BP Regular" pitchFamily="2" charset="0"/>
              </a:rPr>
              <a:t>Informação </a:t>
            </a:r>
            <a:r>
              <a:rPr lang="pt-BR" sz="1200" dirty="0">
                <a:latin typeface="Simplon BP Regular" pitchFamily="2" charset="0"/>
              </a:rPr>
              <a:t>completa de subscrição (nome, endereço, </a:t>
            </a:r>
            <a:r>
              <a:rPr lang="pt-BR" sz="1200" dirty="0" err="1">
                <a:latin typeface="Simplon BP Regular" pitchFamily="2" charset="0"/>
              </a:rPr>
              <a:t>etc</a:t>
            </a:r>
            <a:r>
              <a:rPr lang="pt-BR" sz="1200" dirty="0">
                <a:latin typeface="Simplon BP Regular" pitchFamily="2" charset="0"/>
              </a:rPr>
              <a:t>) dos </a:t>
            </a:r>
            <a:r>
              <a:rPr lang="pt-BR" sz="1200" dirty="0" smtClean="0">
                <a:latin typeface="Simplon BP Regular" pitchFamily="2" charset="0"/>
              </a:rPr>
              <a:t>fraudadores.</a:t>
            </a:r>
            <a:endParaRPr lang="pt-BR" sz="1200" dirty="0">
              <a:latin typeface="Simplon BP Regular" pitchFamily="2" charset="0"/>
            </a:endParaRPr>
          </a:p>
          <a:p>
            <a:pPr marL="628650" lvl="1" indent="-171450">
              <a:buFontTx/>
              <a:buChar char="-"/>
            </a:pPr>
            <a:r>
              <a:rPr lang="pt-BR" sz="1200" dirty="0" smtClean="0">
                <a:latin typeface="Simplon BP Regular" pitchFamily="2" charset="0"/>
              </a:rPr>
              <a:t>Histórico </a:t>
            </a:r>
            <a:r>
              <a:rPr lang="pt-BR" sz="1200" dirty="0">
                <a:latin typeface="Simplon BP Regular" pitchFamily="2" charset="0"/>
              </a:rPr>
              <a:t>de ações realizadas por </a:t>
            </a:r>
            <a:r>
              <a:rPr lang="pt-BR" sz="1200" dirty="0" smtClean="0">
                <a:latin typeface="Simplon BP Regular" pitchFamily="2" charset="0"/>
              </a:rPr>
              <a:t>entidade.</a:t>
            </a:r>
            <a:endParaRPr lang="pt-BR" sz="1200" dirty="0">
              <a:latin typeface="Simplon BP Regular" pitchFamily="2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200" dirty="0" smtClean="0">
                <a:latin typeface="Simplon BP Regular" pitchFamily="2" charset="0"/>
              </a:rPr>
              <a:t>Os </a:t>
            </a:r>
            <a:r>
              <a:rPr lang="pt-BR" sz="1200" dirty="0">
                <a:latin typeface="Simplon BP Regular" pitchFamily="2" charset="0"/>
              </a:rPr>
              <a:t>dados de tráfego (arquivos de </a:t>
            </a:r>
            <a:r>
              <a:rPr lang="pt-BR" sz="1200" dirty="0" err="1">
                <a:latin typeface="Simplon BP Regular" pitchFamily="2" charset="0"/>
              </a:rPr>
              <a:t>xDRs</a:t>
            </a:r>
            <a:r>
              <a:rPr lang="pt-BR" sz="1200" dirty="0">
                <a:latin typeface="Simplon BP Regular" pitchFamily="2" charset="0"/>
              </a:rPr>
              <a:t> provenientes da mediação) que não fazem parte do escopo de prevenção à fraude (</a:t>
            </a:r>
            <a:r>
              <a:rPr lang="pt-BR" sz="1200" dirty="0" err="1">
                <a:latin typeface="Simplon BP Regular" pitchFamily="2" charset="0"/>
              </a:rPr>
              <a:t>near</a:t>
            </a:r>
            <a:r>
              <a:rPr lang="pt-BR" sz="1200" dirty="0">
                <a:latin typeface="Simplon BP Regular" pitchFamily="2" charset="0"/>
              </a:rPr>
              <a:t> real time) deverão ser entregues no servidor Edge Node do cluster </a:t>
            </a:r>
            <a:r>
              <a:rPr lang="pt-BR" sz="1200" dirty="0" err="1">
                <a:latin typeface="Simplon BP Regular" pitchFamily="2" charset="0"/>
              </a:rPr>
              <a:t>Hadoop</a:t>
            </a:r>
            <a:r>
              <a:rPr lang="pt-BR" sz="1200" dirty="0">
                <a:latin typeface="Simplon BP Regular" pitchFamily="2" charset="0"/>
              </a:rPr>
              <a:t> (ou em outro servidor que tenha a função de data </a:t>
            </a:r>
            <a:r>
              <a:rPr lang="pt-BR" sz="1200" dirty="0" err="1">
                <a:latin typeface="Simplon BP Regular" pitchFamily="2" charset="0"/>
              </a:rPr>
              <a:t>staging</a:t>
            </a:r>
            <a:r>
              <a:rPr lang="pt-BR" sz="1200" dirty="0">
                <a:latin typeface="Simplon BP Regular" pitchFamily="2" charset="0"/>
              </a:rPr>
              <a:t>), de onde serão imputados no cluster.  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200" dirty="0" smtClean="0">
                <a:latin typeface="Simplon BP Regular" pitchFamily="2" charset="0"/>
              </a:rPr>
              <a:t>Para este projeto, o </a:t>
            </a:r>
            <a:r>
              <a:rPr lang="pt-BR" sz="1200" dirty="0" err="1">
                <a:latin typeface="Simplon BP Regular" pitchFamily="2" charset="0"/>
              </a:rPr>
              <a:t>Hadoop</a:t>
            </a:r>
            <a:r>
              <a:rPr lang="pt-BR" sz="1200" dirty="0">
                <a:latin typeface="Simplon BP Regular" pitchFamily="2" charset="0"/>
              </a:rPr>
              <a:t> terá o conceito de base fria no escopo da solução, onde uma base quente </a:t>
            </a:r>
            <a:r>
              <a:rPr lang="pt-BR" sz="1200" dirty="0" smtClean="0">
                <a:latin typeface="Simplon BP Regular" pitchFamily="2" charset="0"/>
              </a:rPr>
              <a:t>terá </a:t>
            </a:r>
            <a:r>
              <a:rPr lang="pt-BR" sz="1200" dirty="0">
                <a:latin typeface="Simplon BP Regular" pitchFamily="2" charset="0"/>
              </a:rPr>
              <a:t>os registros do dia para atender a necessidade de respostas em tempo próximo ao real e o </a:t>
            </a:r>
            <a:r>
              <a:rPr lang="pt-BR" sz="1200" dirty="0" err="1">
                <a:latin typeface="Simplon BP Regular" pitchFamily="2" charset="0"/>
              </a:rPr>
              <a:t>Hadoop</a:t>
            </a:r>
            <a:r>
              <a:rPr lang="pt-BR" sz="1200" dirty="0">
                <a:latin typeface="Simplon BP Regular" pitchFamily="2" charset="0"/>
              </a:rPr>
              <a:t> terá todos os registros até o limite do tempo de guarda (aproximadamente 5 anos), para o uso de pesquisas mais complexas e tempo de resposta adequado.  </a:t>
            </a:r>
          </a:p>
          <a:p>
            <a:endParaRPr lang="pt-BR" sz="1200" dirty="0">
              <a:latin typeface="Simplon BP Regula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1837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28"/>
          </p:nvPr>
        </p:nvSpPr>
        <p:spPr>
          <a:xfrm>
            <a:off x="323038" y="3616254"/>
            <a:ext cx="6085552" cy="1520517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latin typeface="Simplon BP Regular"/>
                <a:cs typeface="Simplon BP Regular"/>
              </a:rPr>
              <a:t>Dir. </a:t>
            </a:r>
            <a:r>
              <a:rPr lang="en-US" dirty="0" err="1" smtClean="0">
                <a:latin typeface="Simplon BP Regular"/>
                <a:cs typeface="Simplon BP Regular"/>
              </a:rPr>
              <a:t>Governança</a:t>
            </a:r>
            <a:r>
              <a:rPr lang="en-US" dirty="0" smtClean="0">
                <a:latin typeface="Simplon BP Regular"/>
                <a:cs typeface="Simplon BP Regular"/>
              </a:rPr>
              <a:t> </a:t>
            </a:r>
            <a:r>
              <a:rPr lang="en-US" dirty="0" err="1" smtClean="0">
                <a:latin typeface="Simplon BP Regular"/>
                <a:cs typeface="Simplon BP Regular"/>
              </a:rPr>
              <a:t>Tecnológica</a:t>
            </a:r>
            <a:r>
              <a:rPr lang="en-US" dirty="0" smtClean="0">
                <a:latin typeface="Simplon BP Regular"/>
                <a:cs typeface="Simplon BP Regular"/>
              </a:rPr>
              <a:t> e </a:t>
            </a:r>
            <a:r>
              <a:rPr lang="en-US" dirty="0" err="1" smtClean="0">
                <a:latin typeface="Simplon BP Regular"/>
                <a:cs typeface="Simplon BP Regular"/>
              </a:rPr>
              <a:t>Desenvolvimento</a:t>
            </a:r>
            <a:r>
              <a:rPr lang="en-US" dirty="0" smtClean="0">
                <a:latin typeface="Simplon BP Regular"/>
                <a:cs typeface="Simplon BP Regular"/>
              </a:rPr>
              <a:t> de </a:t>
            </a:r>
            <a:r>
              <a:rPr lang="en-US" dirty="0" err="1" smtClean="0">
                <a:latin typeface="Simplon BP Regular"/>
                <a:cs typeface="Simplon BP Regular"/>
              </a:rPr>
              <a:t>Serviços</a:t>
            </a:r>
            <a:endParaRPr lang="en-US" dirty="0" smtClean="0">
              <a:latin typeface="Simplon BP Regular"/>
              <a:cs typeface="Simplon BP Regular"/>
            </a:endParaRPr>
          </a:p>
          <a:p>
            <a:r>
              <a:rPr lang="en-US" dirty="0" err="1" smtClean="0">
                <a:latin typeface="Simplon BP Regular"/>
              </a:rPr>
              <a:t>Gerência</a:t>
            </a:r>
            <a:r>
              <a:rPr lang="en-US" dirty="0" smtClean="0">
                <a:latin typeface="Simplon BP Regular"/>
              </a:rPr>
              <a:t> de </a:t>
            </a:r>
            <a:r>
              <a:rPr lang="en-US" dirty="0" err="1" smtClean="0">
                <a:latin typeface="Simplon BP Regular"/>
              </a:rPr>
              <a:t>Faturamento</a:t>
            </a:r>
            <a:r>
              <a:rPr lang="en-US" dirty="0" smtClean="0">
                <a:latin typeface="Simplon BP Regular"/>
              </a:rPr>
              <a:t> </a:t>
            </a:r>
            <a:r>
              <a:rPr lang="en-US" dirty="0" err="1" smtClean="0">
                <a:latin typeface="Simplon BP Regular"/>
              </a:rPr>
              <a:t>Convergente</a:t>
            </a:r>
            <a:r>
              <a:rPr lang="en-US" dirty="0" smtClean="0">
                <a:latin typeface="Simplon BP Regular"/>
              </a:rPr>
              <a:t> e </a:t>
            </a:r>
            <a:r>
              <a:rPr lang="en-US" dirty="0" err="1" smtClean="0">
                <a:latin typeface="Simplon BP Regular"/>
              </a:rPr>
              <a:t>Fraude</a:t>
            </a:r>
            <a:endParaRPr lang="en-US" dirty="0" smtClean="0">
              <a:latin typeface="Simplon BP Regular"/>
            </a:endParaRPr>
          </a:p>
          <a:p>
            <a:r>
              <a:rPr lang="en-US" dirty="0" smtClean="0">
                <a:latin typeface="Simplon BP Regular"/>
                <a:hlinkClick r:id="rId2"/>
              </a:rPr>
              <a:t>Leandro.Frossard@oi.net.br</a:t>
            </a:r>
            <a:r>
              <a:rPr lang="en-US" dirty="0" smtClean="0">
                <a:latin typeface="Simplon BP Regular"/>
              </a:rPr>
              <a:t> - 21988411005</a:t>
            </a:r>
            <a:endParaRPr lang="en-US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9"/>
          </p:nvPr>
        </p:nvSpPr>
        <p:spPr>
          <a:xfrm>
            <a:off x="323037" y="3046389"/>
            <a:ext cx="6085553" cy="289600"/>
          </a:xfrm>
          <a:prstGeom prst="rect">
            <a:avLst/>
          </a:prstGeom>
        </p:spPr>
        <p:txBody>
          <a:bodyPr/>
          <a:lstStyle/>
          <a:p>
            <a:r>
              <a:rPr lang="en-US" dirty="0" err="1" smtClean="0">
                <a:latin typeface="Simplon BP Regular"/>
                <a:cs typeface="Simplon BP Regular"/>
              </a:rPr>
              <a:t>Elaborador</a:t>
            </a:r>
            <a:r>
              <a:rPr lang="en-US" dirty="0" smtClean="0">
                <a:latin typeface="Simplon BP Regular"/>
                <a:cs typeface="Simplon BP Regular"/>
              </a:rPr>
              <a:t> </a:t>
            </a:r>
            <a:r>
              <a:rPr lang="en-US" dirty="0" err="1" smtClean="0">
                <a:latin typeface="Simplon BP Regular"/>
                <a:cs typeface="Simplon BP Regular"/>
              </a:rPr>
              <a:t>por</a:t>
            </a:r>
            <a:r>
              <a:rPr lang="en-US" dirty="0" smtClean="0">
                <a:latin typeface="Simplon BP Regular"/>
                <a:cs typeface="Simplon BP Regular"/>
              </a:rPr>
              <a:t> Leandro Frossard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brigado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7169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0931" y="190500"/>
            <a:ext cx="7648575" cy="5095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8395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512" y="190500"/>
            <a:ext cx="8562975" cy="4762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5691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688315"/>
            <a:ext cx="9144000" cy="1766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0295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>
                <a:latin typeface="Simplon BP Bold"/>
                <a:cs typeface="Simplon BP Bold"/>
              </a:rPr>
              <a:pPr/>
              <a:t>2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0"/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ntifraude</a:t>
            </a:r>
            <a:r>
              <a:rPr lang="en-US" dirty="0" smtClean="0"/>
              <a:t> RAID-FMS</a:t>
            </a:r>
          </a:p>
          <a:p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5357758" y="965607"/>
            <a:ext cx="3543871" cy="3708834"/>
          </a:xfrm>
        </p:spPr>
        <p:txBody>
          <a:bodyPr>
            <a:normAutofit fontScale="32500" lnSpcReduction="20000"/>
          </a:bodyPr>
          <a:lstStyle/>
          <a:p>
            <a:pPr lvl="0">
              <a:lnSpc>
                <a:spcPct val="170000"/>
              </a:lnSpc>
            </a:pPr>
            <a:r>
              <a:rPr lang="en-US" sz="3700" dirty="0" err="1" smtClean="0"/>
              <a:t>Objetivo</a:t>
            </a:r>
            <a:r>
              <a:rPr lang="en-US" sz="3700" dirty="0" smtClean="0"/>
              <a:t> e </a:t>
            </a:r>
            <a:r>
              <a:rPr lang="en-US" sz="3700" dirty="0" err="1" smtClean="0"/>
              <a:t>motivadores</a:t>
            </a:r>
            <a:r>
              <a:rPr lang="en-US" sz="3700" dirty="0" smtClean="0"/>
              <a:t> do </a:t>
            </a:r>
            <a:r>
              <a:rPr lang="en-US" sz="3700" dirty="0" err="1" smtClean="0"/>
              <a:t>projeto</a:t>
            </a:r>
            <a:endParaRPr lang="en-US" sz="3700" dirty="0"/>
          </a:p>
          <a:p>
            <a:pPr lvl="0">
              <a:lnSpc>
                <a:spcPct val="170000"/>
              </a:lnSpc>
            </a:pPr>
            <a:r>
              <a:rPr lang="en-US" sz="3700" dirty="0" err="1" smtClean="0"/>
              <a:t>Escopo</a:t>
            </a:r>
            <a:r>
              <a:rPr lang="en-US" sz="3700" dirty="0" smtClean="0"/>
              <a:t> e </a:t>
            </a:r>
            <a:r>
              <a:rPr lang="en-US" sz="3700" dirty="0" err="1" smtClean="0"/>
              <a:t>pacote</a:t>
            </a:r>
            <a:r>
              <a:rPr lang="en-US" sz="3700" dirty="0" smtClean="0"/>
              <a:t> de </a:t>
            </a:r>
            <a:r>
              <a:rPr lang="en-US" sz="3700" dirty="0" err="1" smtClean="0"/>
              <a:t>entregas</a:t>
            </a:r>
            <a:endParaRPr lang="en-US" sz="3700" dirty="0" smtClean="0"/>
          </a:p>
          <a:p>
            <a:pPr lvl="0">
              <a:lnSpc>
                <a:spcPct val="170000"/>
              </a:lnSpc>
            </a:pPr>
            <a:r>
              <a:rPr lang="en-US" sz="3700" dirty="0" err="1"/>
              <a:t>Beneficios</a:t>
            </a:r>
            <a:r>
              <a:rPr lang="en-US" sz="3700" dirty="0"/>
              <a:t> </a:t>
            </a:r>
            <a:r>
              <a:rPr lang="en-US" sz="3700" dirty="0" err="1"/>
              <a:t>esperados</a:t>
            </a:r>
            <a:endParaRPr lang="en-US" sz="3700" dirty="0" smtClean="0"/>
          </a:p>
          <a:p>
            <a:pPr lvl="0">
              <a:lnSpc>
                <a:spcPct val="170000"/>
              </a:lnSpc>
            </a:pPr>
            <a:r>
              <a:rPr lang="en-US" sz="3700" dirty="0" smtClean="0"/>
              <a:t>Roadmap de </a:t>
            </a:r>
            <a:r>
              <a:rPr lang="en-US" sz="3700" dirty="0" err="1" smtClean="0"/>
              <a:t>entregas</a:t>
            </a:r>
            <a:endParaRPr lang="en-US" sz="3700" dirty="0" smtClean="0"/>
          </a:p>
          <a:p>
            <a:pPr>
              <a:lnSpc>
                <a:spcPct val="170000"/>
              </a:lnSpc>
            </a:pPr>
            <a:r>
              <a:rPr lang="en-US" sz="3700" dirty="0" err="1" smtClean="0"/>
              <a:t>Cronograma</a:t>
            </a:r>
            <a:r>
              <a:rPr lang="en-US" sz="3700" dirty="0" smtClean="0"/>
              <a:t> macro</a:t>
            </a:r>
            <a:endParaRPr lang="en-US" sz="3700" dirty="0"/>
          </a:p>
          <a:p>
            <a:pPr lvl="0">
              <a:lnSpc>
                <a:spcPct val="170000"/>
              </a:lnSpc>
            </a:pPr>
            <a:r>
              <a:rPr lang="en-US" sz="3700" dirty="0" err="1" smtClean="0"/>
              <a:t>Organização</a:t>
            </a:r>
            <a:r>
              <a:rPr lang="en-US" sz="3700" dirty="0" smtClean="0"/>
              <a:t> do </a:t>
            </a:r>
            <a:r>
              <a:rPr lang="en-US" sz="3700" dirty="0" err="1" smtClean="0"/>
              <a:t>projeto</a:t>
            </a:r>
            <a:endParaRPr lang="en-US" sz="3700" dirty="0" smtClean="0"/>
          </a:p>
          <a:p>
            <a:pPr>
              <a:lnSpc>
                <a:spcPct val="170000"/>
              </a:lnSpc>
            </a:pPr>
            <a:r>
              <a:rPr lang="en-US" sz="3700" dirty="0"/>
              <a:t>Agenda </a:t>
            </a:r>
            <a:r>
              <a:rPr lang="en-US" sz="3700" dirty="0" err="1"/>
              <a:t>semAnal</a:t>
            </a:r>
            <a:endParaRPr lang="en-US" sz="3700" dirty="0"/>
          </a:p>
          <a:p>
            <a:pPr lvl="0">
              <a:lnSpc>
                <a:spcPct val="170000"/>
              </a:lnSpc>
            </a:pPr>
            <a:r>
              <a:rPr lang="en-US" sz="3700" dirty="0" err="1"/>
              <a:t>Proximos</a:t>
            </a:r>
            <a:r>
              <a:rPr lang="en-US" sz="3700" dirty="0"/>
              <a:t> </a:t>
            </a:r>
            <a:r>
              <a:rPr lang="en-US" sz="3700" dirty="0" err="1"/>
              <a:t>passos</a:t>
            </a:r>
            <a:endParaRPr lang="en-US" sz="3700" dirty="0"/>
          </a:p>
          <a:p>
            <a:pPr lvl="0">
              <a:lnSpc>
                <a:spcPct val="170000"/>
              </a:lnSpc>
            </a:pPr>
            <a:r>
              <a:rPr lang="en-US" sz="3700" dirty="0" err="1" smtClean="0"/>
              <a:t>Arquitetura</a:t>
            </a:r>
            <a:r>
              <a:rPr lang="en-US" sz="3700" dirty="0" smtClean="0"/>
              <a:t> </a:t>
            </a:r>
            <a:r>
              <a:rPr lang="en-US" sz="3700" dirty="0" err="1" smtClean="0"/>
              <a:t>fisica</a:t>
            </a:r>
            <a:r>
              <a:rPr lang="en-US" sz="3700" dirty="0" smtClean="0"/>
              <a:t> vanilla</a:t>
            </a:r>
          </a:p>
          <a:p>
            <a:pPr lvl="0">
              <a:lnSpc>
                <a:spcPct val="170000"/>
              </a:lnSpc>
            </a:pPr>
            <a:r>
              <a:rPr lang="en-US" sz="3700" dirty="0" err="1" smtClean="0"/>
              <a:t>Principais</a:t>
            </a:r>
            <a:r>
              <a:rPr lang="en-US" sz="3700" dirty="0" smtClean="0"/>
              <a:t> </a:t>
            </a:r>
            <a:r>
              <a:rPr lang="en-US" sz="3700" dirty="0" err="1" smtClean="0"/>
              <a:t>premissas</a:t>
            </a:r>
            <a:r>
              <a:rPr lang="en-US" sz="3700" dirty="0" smtClean="0"/>
              <a:t> e </a:t>
            </a:r>
            <a:r>
              <a:rPr lang="en-US" sz="3700" dirty="0" err="1" smtClean="0"/>
              <a:t>restrições</a:t>
            </a:r>
            <a:endParaRPr lang="en-US" sz="3700" dirty="0" smtClean="0"/>
          </a:p>
          <a:p>
            <a:pPr lvl="0">
              <a:lnSpc>
                <a:spcPct val="170000"/>
              </a:lnSpc>
            </a:pPr>
            <a:endParaRPr lang="en-US" dirty="0" smtClean="0"/>
          </a:p>
          <a:p>
            <a:pPr lvl="0"/>
            <a:endParaRPr lang="en-US" dirty="0" smtClean="0"/>
          </a:p>
          <a:p>
            <a:pPr lvl="0"/>
            <a:endParaRPr lang="en-US" dirty="0" smtClean="0"/>
          </a:p>
          <a:p>
            <a:pPr lvl="0"/>
            <a:endParaRPr lang="en-US" dirty="0" smtClean="0"/>
          </a:p>
          <a:p>
            <a:pPr lvl="0"/>
            <a:endParaRPr lang="en-US" dirty="0" smtClean="0"/>
          </a:p>
          <a:p>
            <a:pPr lvl="0"/>
            <a:endParaRPr lang="en-US" dirty="0"/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sumári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26890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A5310-A1A2-4A74-BE06-D50AF2203BA9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0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7" name="Espaço Reservado para Conteúdo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492379841"/>
              </p:ext>
            </p:extLst>
          </p:nvPr>
        </p:nvGraphicFramePr>
        <p:xfrm>
          <a:off x="970126" y="848388"/>
          <a:ext cx="7239000" cy="29892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4800"/>
                <a:gridCol w="3124200"/>
              </a:tblGrid>
              <a:tr h="682957">
                <a:tc gridSpan="2">
                  <a:txBody>
                    <a:bodyPr/>
                    <a:lstStyle/>
                    <a:p>
                      <a:pPr algn="ctr"/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</a:rPr>
                        <a:t>Atuação e Números Antifraude</a:t>
                      </a:r>
                      <a:r>
                        <a:rPr lang="pt-BR" sz="2000" baseline="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</a:rPr>
                        <a:t> Oi</a:t>
                      </a:r>
                      <a:endParaRPr lang="pt-BR" sz="2000" dirty="0" smtClean="0">
                        <a:solidFill>
                          <a:schemeClr val="tx1"/>
                        </a:solidFill>
                        <a:latin typeface="Simplon BP Regular" pitchFamily="2" charset="0"/>
                      </a:endParaRPr>
                    </a:p>
                  </a:txBody>
                  <a:tcPr anchor="ctr"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pt-BR" sz="1600" b="0" i="0" kern="12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Principais áreas envolvidas</a:t>
                      </a:r>
                      <a:endParaRPr lang="pt-BR" sz="1600" b="0" i="0" kern="1200" dirty="0">
                        <a:solidFill>
                          <a:schemeClr val="tx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pt-BR" sz="1600" b="0" i="0" kern="12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Vendas, Crédito, Atendimento, Faturamento, Cobrança, UTC, Engenharia.</a:t>
                      </a:r>
                      <a:endParaRPr lang="pt-BR" sz="1600" b="0" i="0" kern="1200" dirty="0">
                        <a:solidFill>
                          <a:schemeClr val="tx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pt-BR" sz="1600" b="0" i="0" kern="12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Clientes ativos na base atualmente</a:t>
                      </a:r>
                      <a:endParaRPr lang="pt-BR" sz="1600" b="0" i="0" kern="1200" dirty="0">
                        <a:solidFill>
                          <a:schemeClr val="tx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pt-BR" sz="1600" b="0" i="0" kern="12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+70Milhões</a:t>
                      </a:r>
                      <a:endParaRPr lang="pt-BR" sz="1600" b="0" i="0" kern="1200" dirty="0">
                        <a:solidFill>
                          <a:schemeClr val="tx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pt-BR" sz="1600" b="0" i="0" kern="1200" dirty="0" err="1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Trafégo</a:t>
                      </a:r>
                      <a:r>
                        <a:rPr lang="pt-BR" sz="1600" b="0" i="0" kern="12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 monitorado atualmente</a:t>
                      </a:r>
                      <a:endParaRPr lang="pt-BR" sz="1600" b="0" i="0" kern="1200" dirty="0">
                        <a:solidFill>
                          <a:schemeClr val="tx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pt-BR" sz="1600" b="0" i="0" kern="12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+200Milhões eventos/dia</a:t>
                      </a:r>
                      <a:endParaRPr lang="pt-BR" sz="1600" b="0" i="0" kern="1200" dirty="0">
                        <a:solidFill>
                          <a:schemeClr val="tx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pt-BR" sz="1600" b="0" i="0" kern="12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Volume de Propostas Online</a:t>
                      </a:r>
                      <a:endParaRPr lang="pt-BR" sz="1600" b="0" i="0" kern="1200" dirty="0">
                        <a:solidFill>
                          <a:schemeClr val="tx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pt-BR" sz="1600" b="0" i="0" kern="12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+80k Propostas/dia /~100k/pico</a:t>
                      </a:r>
                      <a:endParaRPr lang="pt-BR" sz="1600" b="0" i="0" kern="1200" dirty="0">
                        <a:solidFill>
                          <a:schemeClr val="tx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pt-BR" sz="1600" b="0" i="0" kern="1200" dirty="0" err="1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Backoffice</a:t>
                      </a:r>
                      <a:r>
                        <a:rPr lang="pt-BR" sz="1600" b="0" i="0" kern="12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 de prevenção/detecção</a:t>
                      </a:r>
                      <a:endParaRPr lang="pt-BR" sz="1600" b="0" i="0" kern="1200" dirty="0">
                        <a:solidFill>
                          <a:schemeClr val="tx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pt-BR" sz="1600" b="0" i="0" kern="12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~200pa´s</a:t>
                      </a:r>
                      <a:endParaRPr lang="pt-BR" sz="1600" b="0" i="0" kern="1200" dirty="0">
                        <a:solidFill>
                          <a:schemeClr val="tx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16730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23037" y="267315"/>
            <a:ext cx="5772963" cy="1945109"/>
          </a:xfrm>
        </p:spPr>
        <p:txBody>
          <a:bodyPr/>
          <a:lstStyle/>
          <a:p>
            <a:r>
              <a:rPr lang="en-US" dirty="0" err="1" smtClean="0"/>
              <a:t>Objetiv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>
                <a:latin typeface="Simplon BP Bold"/>
                <a:cs typeface="Simplon BP Bold"/>
              </a:rPr>
              <a:pPr/>
              <a:t>3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23037" y="902976"/>
            <a:ext cx="4756964" cy="609362"/>
          </a:xfrm>
          <a:prstGeom prst="rect">
            <a:avLst/>
          </a:prstGeom>
        </p:spPr>
        <p:txBody>
          <a:bodyPr>
            <a:normAutofit fontScale="85000" lnSpcReduction="10000"/>
          </a:bodyPr>
          <a:lstStyle/>
          <a:p>
            <a:pPr marL="0" lvl="1" indent="0">
              <a:lnSpc>
                <a:spcPct val="100000"/>
              </a:lnSpc>
              <a:spcBef>
                <a:spcPts val="0"/>
              </a:spcBef>
              <a:buSzTx/>
              <a:buNone/>
              <a:defRPr/>
            </a:pPr>
            <a:r>
              <a:rPr lang="en-US" dirty="0" err="1" smtClean="0"/>
              <a:t>Unificar</a:t>
            </a:r>
            <a:r>
              <a:rPr lang="en-US" dirty="0" smtClean="0"/>
              <a:t> </a:t>
            </a:r>
            <a:r>
              <a:rPr lang="en-US" dirty="0" err="1"/>
              <a:t>os</a:t>
            </a:r>
            <a:r>
              <a:rPr lang="en-US" dirty="0"/>
              <a:t> </a:t>
            </a:r>
            <a:r>
              <a:rPr lang="en-US" dirty="0" err="1"/>
              <a:t>processos</a:t>
            </a:r>
            <a:r>
              <a:rPr lang="en-US" dirty="0"/>
              <a:t> de </a:t>
            </a:r>
            <a:r>
              <a:rPr lang="en-US" dirty="0" err="1"/>
              <a:t>Gestão</a:t>
            </a:r>
            <a:r>
              <a:rPr lang="en-US" dirty="0"/>
              <a:t> de </a:t>
            </a:r>
            <a:r>
              <a:rPr lang="en-US" dirty="0" err="1"/>
              <a:t>Fraudes</a:t>
            </a:r>
            <a:r>
              <a:rPr lang="en-US" dirty="0"/>
              <a:t> e </a:t>
            </a:r>
            <a:r>
              <a:rPr lang="en-US" dirty="0" err="1"/>
              <a:t>habilitar</a:t>
            </a:r>
            <a:r>
              <a:rPr lang="en-US" dirty="0"/>
              <a:t> as </a:t>
            </a:r>
            <a:r>
              <a:rPr lang="en-US" dirty="0" err="1"/>
              <a:t>capacidades</a:t>
            </a:r>
            <a:r>
              <a:rPr lang="en-US" dirty="0"/>
              <a:t> para a </a:t>
            </a:r>
            <a:r>
              <a:rPr lang="en-US" dirty="0" err="1"/>
              <a:t>transformação</a:t>
            </a:r>
            <a:r>
              <a:rPr lang="en-US" dirty="0"/>
              <a:t> digital </a:t>
            </a:r>
            <a:r>
              <a:rPr lang="en-US" dirty="0" err="1"/>
              <a:t>na</a:t>
            </a:r>
            <a:r>
              <a:rPr lang="en-US" dirty="0"/>
              <a:t> Oi</a:t>
            </a:r>
          </a:p>
          <a:p>
            <a:pPr>
              <a:lnSpc>
                <a:spcPct val="100000"/>
              </a:lnSpc>
              <a:defRPr/>
            </a:pPr>
            <a:endParaRPr lang="en-US" dirty="0"/>
          </a:p>
          <a:p>
            <a:pPr lvl="0">
              <a:lnSpc>
                <a:spcPct val="100000"/>
              </a:lnSpc>
              <a:defRPr/>
            </a:pPr>
            <a:endParaRPr lang="en-US" dirty="0"/>
          </a:p>
        </p:txBody>
      </p:sp>
      <p:sp>
        <p:nvSpPr>
          <p:cNvPr id="5" name="Title 2"/>
          <p:cNvSpPr txBox="1">
            <a:spLocks/>
          </p:cNvSpPr>
          <p:nvPr/>
        </p:nvSpPr>
        <p:spPr>
          <a:xfrm>
            <a:off x="323037" y="2134215"/>
            <a:ext cx="5772963" cy="194510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ts val="1100"/>
              </a:spcBef>
              <a:buNone/>
              <a:defRPr sz="3600" i="1" kern="1200">
                <a:solidFill>
                  <a:srgbClr val="4D4D4D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i="0" dirty="0" err="1" smtClean="0"/>
              <a:t>motivadores</a:t>
            </a:r>
            <a:endParaRPr lang="en-US" i="0" dirty="0"/>
          </a:p>
        </p:txBody>
      </p:sp>
      <p:sp>
        <p:nvSpPr>
          <p:cNvPr id="6" name="Text Placeholder 8"/>
          <p:cNvSpPr txBox="1">
            <a:spLocks/>
          </p:cNvSpPr>
          <p:nvPr/>
        </p:nvSpPr>
        <p:spPr>
          <a:xfrm>
            <a:off x="323036" y="2782576"/>
            <a:ext cx="6141264" cy="1979924"/>
          </a:xfrm>
          <a:prstGeom prst="rect">
            <a:avLst/>
          </a:prstGeom>
        </p:spPr>
        <p:txBody>
          <a:bodyPr lIns="0" tIns="0" rIns="0" bIns="0">
            <a:normAutofit fontScale="92500" lnSpcReduction="10000"/>
          </a:bodyPr>
          <a:lstStyle>
            <a:lvl1pPr marL="0" marR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 kern="1200" cap="none" baseline="0">
                <a:solidFill>
                  <a:srgbClr val="4D4D4D"/>
                </a:solidFill>
                <a:latin typeface="Simplon BP"/>
                <a:ea typeface="+mn-ea"/>
                <a:cs typeface="Museo Sans 300"/>
              </a:defRPr>
            </a:lvl1pPr>
            <a:lvl2pPr marL="176213" indent="-176213" algn="l" defTabSz="457200" rtl="0" eaLnBrk="1" latinLnBrk="0" hangingPunct="1">
              <a:lnSpc>
                <a:spcPts val="2000"/>
              </a:lnSpc>
              <a:spcBef>
                <a:spcPts val="900"/>
              </a:spcBef>
              <a:buSzPct val="50000"/>
              <a:buFont typeface="Arial"/>
              <a:buChar char="•"/>
              <a:tabLst/>
              <a:defRPr sz="1800" b="0" i="0" kern="1200">
                <a:solidFill>
                  <a:schemeClr val="tx1"/>
                </a:solidFill>
                <a:latin typeface="Museo Sans 300"/>
                <a:ea typeface="+mn-ea"/>
                <a:cs typeface="Museo Sans 300"/>
              </a:defRPr>
            </a:lvl2pPr>
            <a:lvl3pPr marL="91440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b="0" i="0" kern="1200">
                <a:solidFill>
                  <a:schemeClr val="tx1"/>
                </a:solidFill>
                <a:latin typeface="Museo Sans 300"/>
                <a:ea typeface="+mn-ea"/>
                <a:cs typeface="Museo Sans 300"/>
              </a:defRPr>
            </a:lvl3pPr>
            <a:lvl4pPr marL="137160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400" b="0" i="0" kern="1200">
                <a:solidFill>
                  <a:schemeClr val="tx1"/>
                </a:solidFill>
                <a:latin typeface="Museo Sans 300"/>
                <a:ea typeface="+mn-ea"/>
                <a:cs typeface="Museo Sans 300"/>
              </a:defRPr>
            </a:lvl4pPr>
            <a:lvl5pPr marL="182880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400" b="0" i="0" kern="1200">
                <a:solidFill>
                  <a:schemeClr val="tx1"/>
                </a:solidFill>
                <a:latin typeface="Museo Sans 300"/>
                <a:ea typeface="+mn-ea"/>
                <a:cs typeface="Museo Sans 30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lnSpc>
                <a:spcPct val="100000"/>
              </a:lnSpc>
              <a:buFontTx/>
              <a:buChar char="-"/>
              <a:defRPr/>
            </a:pPr>
            <a:r>
              <a:rPr lang="en-US" dirty="0" err="1" smtClean="0"/>
              <a:t>Solução</a:t>
            </a:r>
            <a:r>
              <a:rPr lang="en-US" dirty="0" smtClean="0"/>
              <a:t> </a:t>
            </a:r>
            <a:r>
              <a:rPr lang="en-US" dirty="0" err="1" smtClean="0"/>
              <a:t>atual</a:t>
            </a:r>
            <a:r>
              <a:rPr lang="en-US" dirty="0" smtClean="0"/>
              <a:t> </a:t>
            </a:r>
            <a:r>
              <a:rPr lang="en-US" dirty="0" err="1" smtClean="0"/>
              <a:t>segregada</a:t>
            </a:r>
            <a:r>
              <a:rPr lang="en-US" dirty="0" smtClean="0"/>
              <a:t> </a:t>
            </a:r>
            <a:r>
              <a:rPr lang="en-US" dirty="0" err="1" smtClean="0"/>
              <a:t>por</a:t>
            </a:r>
            <a:r>
              <a:rPr lang="en-US" dirty="0" smtClean="0"/>
              <a:t> </a:t>
            </a:r>
            <a:r>
              <a:rPr lang="en-US" dirty="0" err="1" smtClean="0"/>
              <a:t>regiões</a:t>
            </a:r>
            <a:r>
              <a:rPr lang="en-US" dirty="0" smtClean="0"/>
              <a:t>, </a:t>
            </a:r>
            <a:r>
              <a:rPr lang="en-US" dirty="0" err="1" smtClean="0"/>
              <a:t>produtos</a:t>
            </a:r>
            <a:r>
              <a:rPr lang="en-US" dirty="0" smtClean="0"/>
              <a:t> e </a:t>
            </a:r>
            <a:r>
              <a:rPr lang="en-US" dirty="0" err="1" smtClean="0"/>
              <a:t>serviços</a:t>
            </a:r>
            <a:r>
              <a:rPr lang="en-US" dirty="0" smtClean="0"/>
              <a:t>;</a:t>
            </a:r>
          </a:p>
          <a:p>
            <a:pPr marL="285750" indent="-285750">
              <a:lnSpc>
                <a:spcPct val="100000"/>
              </a:lnSpc>
              <a:buFontTx/>
              <a:buChar char="-"/>
              <a:defRPr/>
            </a:pPr>
            <a:r>
              <a:rPr lang="en-US" dirty="0" err="1" smtClean="0"/>
              <a:t>Ausência</a:t>
            </a:r>
            <a:r>
              <a:rPr lang="en-US" dirty="0" smtClean="0"/>
              <a:t> de </a:t>
            </a:r>
            <a:r>
              <a:rPr lang="en-US" dirty="0" err="1" smtClean="0"/>
              <a:t>visão</a:t>
            </a:r>
            <a:r>
              <a:rPr lang="en-US" dirty="0" smtClean="0"/>
              <a:t> </a:t>
            </a:r>
            <a:r>
              <a:rPr lang="en-US" dirty="0" err="1" smtClean="0"/>
              <a:t>unificada</a:t>
            </a:r>
            <a:r>
              <a:rPr lang="en-US" dirty="0" smtClean="0"/>
              <a:t> dos </a:t>
            </a:r>
            <a:r>
              <a:rPr lang="en-US" dirty="0" err="1" smtClean="0"/>
              <a:t>cenários</a:t>
            </a:r>
            <a:r>
              <a:rPr lang="en-US" dirty="0" smtClean="0"/>
              <a:t> de </a:t>
            </a:r>
            <a:r>
              <a:rPr lang="en-US" dirty="0" err="1" smtClean="0"/>
              <a:t>fraude</a:t>
            </a:r>
            <a:r>
              <a:rPr lang="en-US" dirty="0" smtClean="0"/>
              <a:t> </a:t>
            </a:r>
            <a:r>
              <a:rPr lang="en-US" dirty="0" err="1" smtClean="0"/>
              <a:t>em</a:t>
            </a:r>
            <a:r>
              <a:rPr lang="en-US" dirty="0" smtClean="0"/>
              <a:t> multi </a:t>
            </a:r>
            <a:r>
              <a:rPr lang="en-US" dirty="0" err="1" smtClean="0"/>
              <a:t>produtos</a:t>
            </a:r>
            <a:r>
              <a:rPr lang="en-US" dirty="0" smtClean="0"/>
              <a:t> </a:t>
            </a:r>
            <a:r>
              <a:rPr lang="en-US" dirty="0" err="1" smtClean="0"/>
              <a:t>impedindo</a:t>
            </a:r>
            <a:r>
              <a:rPr lang="en-US" dirty="0" smtClean="0"/>
              <a:t> a </a:t>
            </a:r>
            <a:r>
              <a:rPr lang="en-US" dirty="0" err="1" smtClean="0"/>
              <a:t>identificação</a:t>
            </a:r>
            <a:r>
              <a:rPr lang="en-US" dirty="0" smtClean="0"/>
              <a:t> de </a:t>
            </a:r>
            <a:r>
              <a:rPr lang="en-US" dirty="0" err="1" smtClean="0"/>
              <a:t>associações</a:t>
            </a:r>
            <a:r>
              <a:rPr lang="en-US" dirty="0" smtClean="0"/>
              <a:t> </a:t>
            </a:r>
            <a:r>
              <a:rPr lang="en-US" dirty="0" err="1" smtClean="0"/>
              <a:t>suspeitas</a:t>
            </a:r>
            <a:r>
              <a:rPr lang="en-US" dirty="0" smtClean="0"/>
              <a:t> entre </a:t>
            </a:r>
            <a:r>
              <a:rPr lang="en-US" dirty="0" err="1" smtClean="0"/>
              <a:t>clientes</a:t>
            </a:r>
            <a:r>
              <a:rPr lang="en-US" dirty="0" smtClean="0"/>
              <a:t> e </a:t>
            </a:r>
            <a:r>
              <a:rPr lang="en-US" dirty="0" err="1" smtClean="0"/>
              <a:t>contas</a:t>
            </a:r>
            <a:r>
              <a:rPr lang="en-US" dirty="0" smtClean="0"/>
              <a:t> para </a:t>
            </a:r>
            <a:r>
              <a:rPr lang="en-US" dirty="0" err="1" smtClean="0"/>
              <a:t>todas</a:t>
            </a:r>
            <a:r>
              <a:rPr lang="en-US" dirty="0" smtClean="0"/>
              <a:t> as </a:t>
            </a:r>
            <a:r>
              <a:rPr lang="en-US" dirty="0" err="1" smtClean="0"/>
              <a:t>linhas</a:t>
            </a:r>
            <a:r>
              <a:rPr lang="en-US" dirty="0" smtClean="0"/>
              <a:t> de </a:t>
            </a:r>
            <a:r>
              <a:rPr lang="en-US" dirty="0" err="1" smtClean="0"/>
              <a:t>negócio</a:t>
            </a:r>
            <a:r>
              <a:rPr lang="en-US" dirty="0" smtClean="0"/>
              <a:t> da Oi;</a:t>
            </a:r>
          </a:p>
          <a:p>
            <a:pPr marL="285750" indent="-285750">
              <a:lnSpc>
                <a:spcPct val="100000"/>
              </a:lnSpc>
              <a:buFontTx/>
              <a:buChar char="-"/>
              <a:defRPr/>
            </a:pPr>
            <a:r>
              <a:rPr lang="en-US" dirty="0" err="1" smtClean="0"/>
              <a:t>Solução</a:t>
            </a:r>
            <a:r>
              <a:rPr lang="en-US" dirty="0" smtClean="0"/>
              <a:t> </a:t>
            </a:r>
            <a:r>
              <a:rPr lang="en-US" dirty="0" err="1" smtClean="0"/>
              <a:t>atual</a:t>
            </a:r>
            <a:r>
              <a:rPr lang="en-US" dirty="0" smtClean="0"/>
              <a:t> </a:t>
            </a:r>
            <a:r>
              <a:rPr lang="en-US" dirty="0" err="1" smtClean="0"/>
              <a:t>não</a:t>
            </a:r>
            <a:r>
              <a:rPr lang="en-US" dirty="0" smtClean="0"/>
              <a:t> </a:t>
            </a:r>
            <a:r>
              <a:rPr lang="en-US" dirty="0" err="1" smtClean="0"/>
              <a:t>está</a:t>
            </a:r>
            <a:r>
              <a:rPr lang="en-US" dirty="0" smtClean="0"/>
              <a:t> </a:t>
            </a:r>
            <a:r>
              <a:rPr lang="en-US" dirty="0" err="1" smtClean="0"/>
              <a:t>preparada</a:t>
            </a:r>
            <a:r>
              <a:rPr lang="en-US" dirty="0" smtClean="0"/>
              <a:t> para </a:t>
            </a:r>
            <a:r>
              <a:rPr lang="en-US" dirty="0" err="1" smtClean="0"/>
              <a:t>novos</a:t>
            </a:r>
            <a:r>
              <a:rPr lang="en-US" dirty="0" smtClean="0"/>
              <a:t> </a:t>
            </a:r>
            <a:r>
              <a:rPr lang="en-US" dirty="0" err="1" smtClean="0"/>
              <a:t>tipos</a:t>
            </a:r>
            <a:r>
              <a:rPr lang="en-US" dirty="0" smtClean="0"/>
              <a:t> de </a:t>
            </a:r>
            <a:r>
              <a:rPr lang="en-US" dirty="0" err="1" smtClean="0"/>
              <a:t>fraude</a:t>
            </a:r>
            <a:r>
              <a:rPr lang="en-US" dirty="0" smtClean="0"/>
              <a:t> a </a:t>
            </a:r>
            <a:r>
              <a:rPr lang="en-US" dirty="0" err="1" smtClean="0"/>
              <a:t>serem</a:t>
            </a:r>
            <a:r>
              <a:rPr lang="en-US" dirty="0" smtClean="0"/>
              <a:t> </a:t>
            </a:r>
            <a:r>
              <a:rPr lang="en-US" dirty="0" err="1" smtClean="0"/>
              <a:t>detectados</a:t>
            </a:r>
            <a:r>
              <a:rPr lang="en-US" dirty="0" smtClean="0"/>
              <a:t> com a </a:t>
            </a:r>
            <a:r>
              <a:rPr lang="en-US" dirty="0" err="1" smtClean="0"/>
              <a:t>Transformação</a:t>
            </a:r>
            <a:r>
              <a:rPr lang="en-US" dirty="0" smtClean="0"/>
              <a:t> Digital.</a:t>
            </a:r>
          </a:p>
          <a:p>
            <a:pPr marL="285750" indent="-285750">
              <a:lnSpc>
                <a:spcPct val="100000"/>
              </a:lnSpc>
              <a:buFontTx/>
              <a:buChar char="-"/>
              <a:defRPr/>
            </a:pPr>
            <a:r>
              <a:rPr lang="en-US" dirty="0" err="1" smtClean="0"/>
              <a:t>Solução</a:t>
            </a:r>
            <a:r>
              <a:rPr lang="en-US" dirty="0" smtClean="0"/>
              <a:t> </a:t>
            </a:r>
            <a:r>
              <a:rPr lang="en-US" dirty="0" err="1" smtClean="0"/>
              <a:t>atual</a:t>
            </a:r>
            <a:r>
              <a:rPr lang="en-US" dirty="0" smtClean="0"/>
              <a:t> </a:t>
            </a:r>
            <a:r>
              <a:rPr lang="en-US" dirty="0" err="1" smtClean="0"/>
              <a:t>não</a:t>
            </a:r>
            <a:r>
              <a:rPr lang="en-US" dirty="0" smtClean="0"/>
              <a:t> </a:t>
            </a:r>
            <a:r>
              <a:rPr lang="en-US" dirty="0" err="1" smtClean="0"/>
              <a:t>permite</a:t>
            </a:r>
            <a:r>
              <a:rPr lang="en-US" dirty="0" smtClean="0"/>
              <a:t> </a:t>
            </a:r>
            <a:r>
              <a:rPr lang="en-US" dirty="0" err="1" smtClean="0"/>
              <a:t>realizar</a:t>
            </a:r>
            <a:r>
              <a:rPr lang="en-US" dirty="0" smtClean="0"/>
              <a:t> </a:t>
            </a:r>
            <a:r>
              <a:rPr lang="en-US" dirty="0" err="1" smtClean="0"/>
              <a:t>análise</a:t>
            </a:r>
            <a:r>
              <a:rPr lang="en-US" dirty="0" smtClean="0"/>
              <a:t> </a:t>
            </a:r>
            <a:r>
              <a:rPr lang="en-US" dirty="0" err="1" smtClean="0"/>
              <a:t>preditiva</a:t>
            </a:r>
            <a:r>
              <a:rPr lang="en-US" dirty="0" smtClean="0"/>
              <a:t> para </a:t>
            </a:r>
            <a:r>
              <a:rPr lang="en-US" dirty="0" err="1" smtClean="0"/>
              <a:t>antecipar</a:t>
            </a:r>
            <a:r>
              <a:rPr lang="en-US" dirty="0" smtClean="0"/>
              <a:t> a </a:t>
            </a:r>
            <a:r>
              <a:rPr lang="en-US" dirty="0" err="1" smtClean="0"/>
              <a:t>identificação</a:t>
            </a:r>
            <a:r>
              <a:rPr lang="en-US" dirty="0" smtClean="0"/>
              <a:t> de </a:t>
            </a:r>
            <a:r>
              <a:rPr lang="en-US" dirty="0" err="1" smtClean="0"/>
              <a:t>novos</a:t>
            </a:r>
            <a:r>
              <a:rPr lang="en-US" dirty="0" smtClean="0"/>
              <a:t> </a:t>
            </a:r>
            <a:r>
              <a:rPr lang="en-US" dirty="0" err="1" smtClean="0"/>
              <a:t>cenários</a:t>
            </a:r>
            <a:r>
              <a:rPr lang="en-US" dirty="0" smtClean="0"/>
              <a:t> de </a:t>
            </a:r>
            <a:r>
              <a:rPr lang="en-US" dirty="0" err="1" smtClean="0"/>
              <a:t>fraude</a:t>
            </a:r>
            <a:r>
              <a:rPr lang="en-US" dirty="0" smtClean="0"/>
              <a:t>.</a:t>
            </a:r>
          </a:p>
          <a:p>
            <a:pPr marL="285750" indent="-285750">
              <a:lnSpc>
                <a:spcPct val="100000"/>
              </a:lnSpc>
              <a:buFontTx/>
              <a:buChar char="-"/>
              <a:defRPr/>
            </a:pPr>
            <a:r>
              <a:rPr lang="en-US" dirty="0" err="1" smtClean="0"/>
              <a:t>Processos</a:t>
            </a:r>
            <a:r>
              <a:rPr lang="en-US" dirty="0" smtClean="0"/>
              <a:t> </a:t>
            </a:r>
            <a:r>
              <a:rPr lang="en-US" dirty="0" err="1" smtClean="0"/>
              <a:t>manuais</a:t>
            </a:r>
            <a:r>
              <a:rPr lang="en-US" dirty="0" smtClean="0"/>
              <a:t> de </a:t>
            </a:r>
            <a:r>
              <a:rPr lang="en-US" dirty="0" err="1" smtClean="0"/>
              <a:t>prevenção</a:t>
            </a:r>
            <a:r>
              <a:rPr lang="en-US" dirty="0" smtClean="0"/>
              <a:t> a </a:t>
            </a:r>
            <a:r>
              <a:rPr lang="en-US" dirty="0" err="1" smtClean="0"/>
              <a:t>fraude</a:t>
            </a:r>
            <a:r>
              <a:rPr lang="en-US" dirty="0" smtClean="0"/>
              <a:t> </a:t>
            </a:r>
            <a:r>
              <a:rPr lang="en-US" dirty="0" err="1" smtClean="0"/>
              <a:t>na</a:t>
            </a:r>
            <a:r>
              <a:rPr lang="en-US" dirty="0" smtClean="0"/>
              <a:t> OI TV e </a:t>
            </a:r>
            <a:r>
              <a:rPr lang="en-US" dirty="0" err="1" smtClean="0"/>
              <a:t>Fixo</a:t>
            </a:r>
            <a:r>
              <a:rPr lang="en-US" dirty="0" smtClean="0"/>
              <a:t> R2 </a:t>
            </a:r>
            <a:r>
              <a:rPr lang="en-US" dirty="0" err="1" smtClean="0"/>
              <a:t>geram</a:t>
            </a:r>
            <a:r>
              <a:rPr lang="en-US" dirty="0" smtClean="0"/>
              <a:t> </a:t>
            </a:r>
            <a:r>
              <a:rPr lang="en-US" dirty="0" err="1" smtClean="0"/>
              <a:t>custos</a:t>
            </a:r>
            <a:r>
              <a:rPr lang="en-US" dirty="0" smtClean="0"/>
              <a:t> com BO e </a:t>
            </a:r>
            <a:r>
              <a:rPr lang="en-US" dirty="0" err="1" smtClean="0"/>
              <a:t>perda</a:t>
            </a:r>
            <a:r>
              <a:rPr lang="en-US" dirty="0" smtClean="0"/>
              <a:t> de </a:t>
            </a:r>
            <a:r>
              <a:rPr lang="en-US" dirty="0" err="1" smtClean="0"/>
              <a:t>receita</a:t>
            </a:r>
            <a:r>
              <a:rPr lang="en-US" dirty="0" smtClean="0"/>
              <a:t>.</a:t>
            </a:r>
          </a:p>
          <a:p>
            <a:pPr>
              <a:lnSpc>
                <a:spcPct val="100000"/>
              </a:lnSpc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4187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037" y="267315"/>
            <a:ext cx="7942842" cy="837285"/>
          </a:xfrm>
        </p:spPr>
        <p:txBody>
          <a:bodyPr/>
          <a:lstStyle/>
          <a:p>
            <a:r>
              <a:rPr lang="en-US" dirty="0" err="1" smtClean="0"/>
              <a:t>Escopo</a:t>
            </a:r>
            <a:r>
              <a:rPr lang="en-US" dirty="0" smtClean="0"/>
              <a:t> (RESUMO PT WEDO)</a:t>
            </a:r>
            <a:endParaRPr lang="en-US" dirty="0"/>
          </a:p>
        </p:txBody>
      </p:sp>
      <p:sp>
        <p:nvSpPr>
          <p:cNvPr id="19" name="Retângulo 18"/>
          <p:cNvSpPr/>
          <p:nvPr/>
        </p:nvSpPr>
        <p:spPr>
          <a:xfrm>
            <a:off x="259537" y="758525"/>
            <a:ext cx="3774178" cy="38164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100" dirty="0">
                <a:latin typeface="Simplon Oi Headline" pitchFamily="2" charset="0"/>
              </a:rPr>
              <a:t>Programa 1 </a:t>
            </a:r>
          </a:p>
          <a:p>
            <a:pPr algn="just"/>
            <a:r>
              <a:rPr lang="pt-BR" sz="1100" dirty="0" smtClean="0">
                <a:latin typeface="Simplon BP Regular" pitchFamily="2" charset="0"/>
              </a:rPr>
              <a:t>Prevenção </a:t>
            </a:r>
            <a:r>
              <a:rPr lang="pt-BR" sz="1100" dirty="0">
                <a:latin typeface="Simplon BP Regular" pitchFamily="2" charset="0"/>
              </a:rPr>
              <a:t>de vendas fraudulentas: detecção de ativações com o uso de identidades falsas baseada em </a:t>
            </a:r>
            <a:r>
              <a:rPr lang="pt-BR" sz="1100" dirty="0" err="1">
                <a:latin typeface="Simplon BP Regular" pitchFamily="2" charset="0"/>
              </a:rPr>
              <a:t>blacklists</a:t>
            </a:r>
            <a:r>
              <a:rPr lang="pt-BR" sz="1100" dirty="0">
                <a:latin typeface="Simplon BP Regular" pitchFamily="2" charset="0"/>
              </a:rPr>
              <a:t> e análise de dados cadastrais (fraude por subscrição), análise de dados do vendedor, entre outros, para todas as linhas de negócio da Oi (móvel, fixo, dados, TV, Oi Total). </a:t>
            </a:r>
          </a:p>
          <a:p>
            <a:pPr algn="just"/>
            <a:r>
              <a:rPr lang="pt-BR" sz="1100" dirty="0" smtClean="0">
                <a:latin typeface="Simplon BP Regular" pitchFamily="2" charset="0"/>
              </a:rPr>
              <a:t>	- Cálculo </a:t>
            </a:r>
            <a:r>
              <a:rPr lang="pt-BR" sz="1100" dirty="0">
                <a:latin typeface="Simplon BP Regular" pitchFamily="2" charset="0"/>
              </a:rPr>
              <a:t>de score de fraude e recomendação para </a:t>
            </a:r>
            <a:r>
              <a:rPr lang="pt-BR" sz="1100" dirty="0" smtClean="0">
                <a:latin typeface="Simplon BP Regular" pitchFamily="2" charset="0"/>
              </a:rPr>
              <a:t>	derivação</a:t>
            </a:r>
          </a:p>
          <a:p>
            <a:pPr algn="just"/>
            <a:r>
              <a:rPr lang="pt-BR" sz="1100" dirty="0">
                <a:latin typeface="Simplon BP Regular" pitchFamily="2" charset="0"/>
              </a:rPr>
              <a:t>	</a:t>
            </a:r>
            <a:r>
              <a:rPr lang="pt-BR" sz="1100" dirty="0" smtClean="0">
                <a:latin typeface="Simplon BP Regular" pitchFamily="2" charset="0"/>
              </a:rPr>
              <a:t>- Detecção/prevenção </a:t>
            </a:r>
            <a:r>
              <a:rPr lang="pt-BR" sz="1100" dirty="0">
                <a:latin typeface="Simplon BP Regular" pitchFamily="2" charset="0"/>
              </a:rPr>
              <a:t>Online e </a:t>
            </a:r>
            <a:r>
              <a:rPr lang="pt-BR" sz="1100" dirty="0" err="1">
                <a:latin typeface="Simplon BP Regular" pitchFamily="2" charset="0"/>
              </a:rPr>
              <a:t>Offline</a:t>
            </a:r>
            <a:r>
              <a:rPr lang="pt-BR" sz="1100" dirty="0">
                <a:latin typeface="Simplon BP Regular" pitchFamily="2" charset="0"/>
              </a:rPr>
              <a:t>  </a:t>
            </a:r>
          </a:p>
          <a:p>
            <a:pPr algn="just"/>
            <a:endParaRPr lang="pt-BR" sz="1100" dirty="0" smtClean="0">
              <a:latin typeface="Simplon BP Regular" pitchFamily="2" charset="0"/>
            </a:endParaRPr>
          </a:p>
          <a:p>
            <a:pPr algn="just"/>
            <a:r>
              <a:rPr lang="pt-BR" sz="1100" dirty="0" smtClean="0">
                <a:latin typeface="Simplon BP Regular" pitchFamily="2" charset="0"/>
              </a:rPr>
              <a:t>Integrações</a:t>
            </a:r>
            <a:r>
              <a:rPr lang="pt-BR" sz="1100" dirty="0">
                <a:latin typeface="Simplon BP Regular" pitchFamily="2" charset="0"/>
              </a:rPr>
              <a:t>: </a:t>
            </a:r>
          </a:p>
          <a:p>
            <a:pPr algn="just"/>
            <a:r>
              <a:rPr lang="pt-BR" sz="1100" dirty="0" smtClean="0">
                <a:latin typeface="Simplon BP Regular" pitchFamily="2" charset="0"/>
              </a:rPr>
              <a:t>	- CRM </a:t>
            </a:r>
            <a:r>
              <a:rPr lang="pt-BR" sz="1100" dirty="0">
                <a:latin typeface="Simplon BP Regular" pitchFamily="2" charset="0"/>
              </a:rPr>
              <a:t>– todos os sistemas de Oi para cada linha de </a:t>
            </a:r>
            <a:r>
              <a:rPr lang="pt-BR" sz="1100" dirty="0" smtClean="0">
                <a:latin typeface="Simplon BP Regular" pitchFamily="2" charset="0"/>
              </a:rPr>
              <a:t>	negócio/produto </a:t>
            </a:r>
            <a:r>
              <a:rPr lang="pt-BR" sz="1100" dirty="0">
                <a:latin typeface="Simplon BP Regular" pitchFamily="2" charset="0"/>
              </a:rPr>
              <a:t>(</a:t>
            </a:r>
            <a:r>
              <a:rPr lang="pt-BR" sz="1100" dirty="0" smtClean="0">
                <a:latin typeface="Simplon BP Regular" pitchFamily="2" charset="0"/>
              </a:rPr>
              <a:t>Siebel</a:t>
            </a:r>
            <a:r>
              <a:rPr lang="pt-BR" sz="1100" dirty="0">
                <a:latin typeface="Simplon BP Regular" pitchFamily="2" charset="0"/>
              </a:rPr>
              <a:t> </a:t>
            </a:r>
            <a:r>
              <a:rPr lang="pt-BR" sz="1100" dirty="0" smtClean="0">
                <a:latin typeface="Simplon BP Regular" pitchFamily="2" charset="0"/>
              </a:rPr>
              <a:t>6.3/8, </a:t>
            </a:r>
            <a:r>
              <a:rPr lang="pt-BR" sz="1100" dirty="0">
                <a:latin typeface="Simplon BP Regular" pitchFamily="2" charset="0"/>
              </a:rPr>
              <a:t>STC, SAC, Oi </a:t>
            </a:r>
            <a:r>
              <a:rPr lang="pt-BR" sz="1100" dirty="0" smtClean="0">
                <a:latin typeface="Simplon BP Regular" pitchFamily="2" charset="0"/>
              </a:rPr>
              <a:t>	Vende, SINN);</a:t>
            </a:r>
          </a:p>
          <a:p>
            <a:pPr algn="just"/>
            <a:r>
              <a:rPr lang="pt-BR" sz="1100" dirty="0">
                <a:latin typeface="Simplon BP Regular" pitchFamily="2" charset="0"/>
              </a:rPr>
              <a:t>	</a:t>
            </a:r>
            <a:r>
              <a:rPr lang="pt-BR" sz="1100" dirty="0" smtClean="0">
                <a:latin typeface="Simplon BP Regular" pitchFamily="2" charset="0"/>
              </a:rPr>
              <a:t>- Bases </a:t>
            </a:r>
            <a:r>
              <a:rPr lang="pt-BR" sz="1100" dirty="0">
                <a:latin typeface="Simplon BP Regular" pitchFamily="2" charset="0"/>
              </a:rPr>
              <a:t>de controle de vendas da </a:t>
            </a:r>
            <a:r>
              <a:rPr lang="pt-BR" sz="1100" dirty="0" smtClean="0">
                <a:latin typeface="Simplon BP Regular" pitchFamily="2" charset="0"/>
              </a:rPr>
              <a:t>Oi</a:t>
            </a:r>
          </a:p>
          <a:p>
            <a:pPr algn="just"/>
            <a:r>
              <a:rPr lang="pt-BR" sz="1100" dirty="0">
                <a:latin typeface="Simplon BP Regular" pitchFamily="2" charset="0"/>
              </a:rPr>
              <a:t>	</a:t>
            </a:r>
            <a:r>
              <a:rPr lang="pt-BR" sz="1100" dirty="0" smtClean="0">
                <a:latin typeface="Simplon BP Regular" pitchFamily="2" charset="0"/>
              </a:rPr>
              <a:t>- Usuários </a:t>
            </a:r>
            <a:r>
              <a:rPr lang="pt-BR" sz="1100" dirty="0">
                <a:latin typeface="Simplon BP Regular" pitchFamily="2" charset="0"/>
              </a:rPr>
              <a:t>NDS </a:t>
            </a:r>
          </a:p>
          <a:p>
            <a:pPr algn="just"/>
            <a:r>
              <a:rPr lang="pt-BR" sz="1100" dirty="0" smtClean="0">
                <a:latin typeface="Simplon BP Regular" pitchFamily="2" charset="0"/>
              </a:rPr>
              <a:t>Interfaces </a:t>
            </a:r>
            <a:r>
              <a:rPr lang="pt-BR" sz="1100" dirty="0">
                <a:latin typeface="Simplon BP Regular" pitchFamily="2" charset="0"/>
              </a:rPr>
              <a:t>externas (webservices): </a:t>
            </a:r>
          </a:p>
          <a:p>
            <a:pPr algn="just"/>
            <a:r>
              <a:rPr lang="pt-BR" sz="1100" dirty="0" smtClean="0">
                <a:latin typeface="Simplon BP Regular" pitchFamily="2" charset="0"/>
              </a:rPr>
              <a:t>	- </a:t>
            </a:r>
            <a:r>
              <a:rPr lang="pt-BR" sz="1100" dirty="0" err="1" smtClean="0">
                <a:latin typeface="Simplon BP Regular" pitchFamily="2" charset="0"/>
              </a:rPr>
              <a:t>ClearSale</a:t>
            </a:r>
            <a:endParaRPr lang="pt-BR" sz="1100" dirty="0">
              <a:latin typeface="Simplon BP Regular" pitchFamily="2" charset="0"/>
            </a:endParaRPr>
          </a:p>
          <a:p>
            <a:pPr algn="just"/>
            <a:r>
              <a:rPr lang="pt-BR" sz="1100" dirty="0" smtClean="0">
                <a:latin typeface="Simplon BP Regular" pitchFamily="2" charset="0"/>
              </a:rPr>
              <a:t>	- M4U </a:t>
            </a:r>
            <a:r>
              <a:rPr lang="pt-BR" sz="1100" dirty="0">
                <a:latin typeface="Simplon BP Regular" pitchFamily="2" charset="0"/>
              </a:rPr>
              <a:t>Serasa </a:t>
            </a:r>
          </a:p>
          <a:p>
            <a:pPr algn="just"/>
            <a:r>
              <a:rPr lang="pt-BR" sz="1100" dirty="0" smtClean="0">
                <a:latin typeface="Simplon BP Regular" pitchFamily="2" charset="0"/>
              </a:rPr>
              <a:t>	- ABR/SIAF</a:t>
            </a:r>
          </a:p>
          <a:p>
            <a:pPr algn="just"/>
            <a:r>
              <a:rPr lang="pt-BR" sz="1100" dirty="0">
                <a:latin typeface="Simplon BP Regular" pitchFamily="2" charset="0"/>
              </a:rPr>
              <a:t>	</a:t>
            </a:r>
            <a:r>
              <a:rPr lang="pt-BR" sz="1100" dirty="0" smtClean="0">
                <a:latin typeface="Simplon BP Regular" pitchFamily="2" charset="0"/>
              </a:rPr>
              <a:t>- Receita </a:t>
            </a:r>
            <a:r>
              <a:rPr lang="pt-BR" sz="1100" dirty="0">
                <a:latin typeface="Simplon BP Regular" pitchFamily="2" charset="0"/>
              </a:rPr>
              <a:t>Federal </a:t>
            </a:r>
          </a:p>
          <a:p>
            <a:pPr algn="just"/>
            <a:r>
              <a:rPr lang="pt-BR" sz="1100" dirty="0" smtClean="0">
                <a:latin typeface="Simplon BP Regular" pitchFamily="2" charset="0"/>
              </a:rPr>
              <a:t>	- Sistema </a:t>
            </a:r>
            <a:r>
              <a:rPr lang="pt-BR" sz="1100" dirty="0">
                <a:latin typeface="Simplon BP Regular" pitchFamily="2" charset="0"/>
              </a:rPr>
              <a:t>de análise de crédito</a:t>
            </a:r>
          </a:p>
        </p:txBody>
      </p:sp>
      <p:sp>
        <p:nvSpPr>
          <p:cNvPr id="22" name="Retângulo 21"/>
          <p:cNvSpPr/>
          <p:nvPr/>
        </p:nvSpPr>
        <p:spPr>
          <a:xfrm>
            <a:off x="4368800" y="760399"/>
            <a:ext cx="4654550" cy="36471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100" dirty="0">
                <a:latin typeface="Simplon Oi Headline" pitchFamily="2" charset="0"/>
              </a:rPr>
              <a:t>Programa 2 </a:t>
            </a:r>
            <a:endParaRPr lang="pt-BR" sz="1100" dirty="0" smtClean="0">
              <a:latin typeface="Simplon Oi Headline" pitchFamily="2" charset="0"/>
            </a:endParaRPr>
          </a:p>
          <a:p>
            <a:r>
              <a:rPr lang="pt-BR" sz="1100" dirty="0">
                <a:latin typeface="Simplon BP Regular" pitchFamily="2" charset="0"/>
              </a:rPr>
              <a:t>M</a:t>
            </a:r>
            <a:r>
              <a:rPr lang="pt-BR" sz="1100" dirty="0" smtClean="0">
                <a:latin typeface="Simplon BP Regular" pitchFamily="2" charset="0"/>
              </a:rPr>
              <a:t>onitoramento </a:t>
            </a:r>
            <a:r>
              <a:rPr lang="pt-BR" sz="1100" dirty="0">
                <a:latin typeface="Simplon BP Regular" pitchFamily="2" charset="0"/>
              </a:rPr>
              <a:t>de uso (voz, SMS e dados) de qualquer terminal que faça uso da rede Oi e que pode estar fora do padrão habitual e que tenha intenção </a:t>
            </a:r>
            <a:r>
              <a:rPr lang="pt-BR" sz="1100" dirty="0" smtClean="0">
                <a:latin typeface="Simplon BP Regular" pitchFamily="2" charset="0"/>
              </a:rPr>
              <a:t>fraudulenta: </a:t>
            </a:r>
          </a:p>
          <a:p>
            <a:r>
              <a:rPr lang="pt-BR" sz="1100" dirty="0">
                <a:latin typeface="Simplon BP Regular" pitchFamily="2" charset="0"/>
              </a:rPr>
              <a:t>	</a:t>
            </a:r>
            <a:r>
              <a:rPr lang="pt-BR" sz="1100" dirty="0" smtClean="0">
                <a:latin typeface="Simplon BP Regular" pitchFamily="2" charset="0"/>
              </a:rPr>
              <a:t>- Fraude </a:t>
            </a:r>
            <a:r>
              <a:rPr lang="pt-BR" sz="1100" dirty="0">
                <a:latin typeface="Simplon BP Regular" pitchFamily="2" charset="0"/>
              </a:rPr>
              <a:t>em chamadas LDI </a:t>
            </a:r>
            <a:r>
              <a:rPr lang="pt-BR" sz="1100" dirty="0" smtClean="0">
                <a:latin typeface="Simplon BP Regular" pitchFamily="2" charset="0"/>
              </a:rPr>
              <a:t>e </a:t>
            </a:r>
            <a:r>
              <a:rPr lang="pt-BR" sz="1100" dirty="0" err="1" smtClean="0">
                <a:latin typeface="Simplon BP Regular" pitchFamily="2" charset="0"/>
              </a:rPr>
              <a:t>co-billing</a:t>
            </a:r>
            <a:r>
              <a:rPr lang="pt-BR" sz="1100" dirty="0" smtClean="0">
                <a:latin typeface="Simplon BP Regular" pitchFamily="2" charset="0"/>
              </a:rPr>
              <a:t> </a:t>
            </a:r>
            <a:endParaRPr lang="pt-BR" sz="1100" dirty="0">
              <a:latin typeface="Simplon BP Regular" pitchFamily="2" charset="0"/>
            </a:endParaRPr>
          </a:p>
          <a:p>
            <a:r>
              <a:rPr lang="pt-BR" sz="1100" dirty="0" smtClean="0">
                <a:latin typeface="Simplon BP Regular" pitchFamily="2" charset="0"/>
              </a:rPr>
              <a:t>	- SPAM </a:t>
            </a:r>
            <a:r>
              <a:rPr lang="pt-BR" sz="1100" dirty="0">
                <a:latin typeface="Simplon BP Regular" pitchFamily="2" charset="0"/>
              </a:rPr>
              <a:t>de SMS </a:t>
            </a:r>
            <a:endParaRPr lang="pt-BR" sz="1100" dirty="0" smtClean="0">
              <a:latin typeface="Simplon BP Regular" pitchFamily="2" charset="0"/>
            </a:endParaRPr>
          </a:p>
          <a:p>
            <a:r>
              <a:rPr lang="pt-BR" sz="1100" dirty="0">
                <a:latin typeface="Simplon BP Regular" pitchFamily="2" charset="0"/>
              </a:rPr>
              <a:t>	</a:t>
            </a:r>
            <a:r>
              <a:rPr lang="pt-BR" sz="1100" dirty="0" smtClean="0">
                <a:latin typeface="Simplon BP Regular" pitchFamily="2" charset="0"/>
              </a:rPr>
              <a:t>- Uso </a:t>
            </a:r>
            <a:r>
              <a:rPr lang="pt-BR" sz="1100" dirty="0">
                <a:latin typeface="Simplon BP Regular" pitchFamily="2" charset="0"/>
              </a:rPr>
              <a:t>abusivo de </a:t>
            </a:r>
            <a:r>
              <a:rPr lang="pt-BR" sz="1100" dirty="0" err="1">
                <a:latin typeface="Simplon BP Regular" pitchFamily="2" charset="0"/>
              </a:rPr>
              <a:t>call</a:t>
            </a:r>
            <a:r>
              <a:rPr lang="pt-BR" sz="1100" dirty="0">
                <a:latin typeface="Simplon BP Regular" pitchFamily="2" charset="0"/>
              </a:rPr>
              <a:t> </a:t>
            </a:r>
            <a:r>
              <a:rPr lang="pt-BR" sz="1100" dirty="0" err="1">
                <a:latin typeface="Simplon BP Regular" pitchFamily="2" charset="0"/>
              </a:rPr>
              <a:t>forward</a:t>
            </a:r>
            <a:r>
              <a:rPr lang="pt-BR" sz="1100" dirty="0">
                <a:latin typeface="Simplon BP Regular" pitchFamily="2" charset="0"/>
              </a:rPr>
              <a:t>, </a:t>
            </a:r>
            <a:r>
              <a:rPr lang="pt-BR" sz="1100" dirty="0" err="1">
                <a:latin typeface="Simplon BP Regular" pitchFamily="2" charset="0"/>
              </a:rPr>
              <a:t>conference</a:t>
            </a:r>
            <a:r>
              <a:rPr lang="pt-BR" sz="1100" dirty="0">
                <a:latin typeface="Simplon BP Regular" pitchFamily="2" charset="0"/>
              </a:rPr>
              <a:t> </a:t>
            </a:r>
            <a:r>
              <a:rPr lang="pt-BR" sz="1100" dirty="0" err="1">
                <a:latin typeface="Simplon BP Regular" pitchFamily="2" charset="0"/>
              </a:rPr>
              <a:t>call</a:t>
            </a:r>
            <a:r>
              <a:rPr lang="pt-BR" sz="1100" dirty="0">
                <a:latin typeface="Simplon BP Regular" pitchFamily="2" charset="0"/>
              </a:rPr>
              <a:t>, </a:t>
            </a:r>
            <a:r>
              <a:rPr lang="pt-BR" sz="1100" dirty="0" err="1">
                <a:latin typeface="Simplon BP Regular" pitchFamily="2" charset="0"/>
              </a:rPr>
              <a:t>call</a:t>
            </a:r>
            <a:r>
              <a:rPr lang="pt-BR" sz="1100" dirty="0">
                <a:latin typeface="Simplon BP Regular" pitchFamily="2" charset="0"/>
              </a:rPr>
              <a:t> </a:t>
            </a:r>
            <a:r>
              <a:rPr lang="pt-BR" sz="1100" dirty="0" err="1">
                <a:latin typeface="Simplon BP Regular" pitchFamily="2" charset="0"/>
              </a:rPr>
              <a:t>group</a:t>
            </a:r>
            <a:r>
              <a:rPr lang="pt-BR" sz="1100" dirty="0">
                <a:latin typeface="Simplon BP Regular" pitchFamily="2" charset="0"/>
              </a:rPr>
              <a:t>, etc.  </a:t>
            </a:r>
            <a:endParaRPr lang="pt-BR" sz="1100" dirty="0" smtClean="0">
              <a:latin typeface="Simplon BP Regular" pitchFamily="2" charset="0"/>
            </a:endParaRPr>
          </a:p>
          <a:p>
            <a:r>
              <a:rPr lang="pt-BR" sz="1100" dirty="0" smtClean="0">
                <a:latin typeface="Simplon BP Regular" pitchFamily="2" charset="0"/>
              </a:rPr>
              <a:t>	- Fraude de </a:t>
            </a:r>
            <a:r>
              <a:rPr lang="pt-BR" sz="1100" dirty="0">
                <a:latin typeface="Simplon BP Regular" pitchFamily="2" charset="0"/>
              </a:rPr>
              <a:t>Roaming In e Out: </a:t>
            </a:r>
            <a:r>
              <a:rPr lang="pt-BR" sz="1100" dirty="0" smtClean="0">
                <a:latin typeface="Simplon BP Regular" pitchFamily="2" charset="0"/>
              </a:rPr>
              <a:t>NRTRDE </a:t>
            </a:r>
            <a:r>
              <a:rPr lang="pt-BR" sz="1100" dirty="0">
                <a:latin typeface="Simplon BP Regular" pitchFamily="2" charset="0"/>
              </a:rPr>
              <a:t>e </a:t>
            </a:r>
            <a:r>
              <a:rPr lang="pt-BR" sz="1100" dirty="0" smtClean="0">
                <a:latin typeface="Simplon BP Regular" pitchFamily="2" charset="0"/>
              </a:rPr>
              <a:t>TAP</a:t>
            </a:r>
            <a:endParaRPr lang="pt-BR" sz="1100" dirty="0">
              <a:latin typeface="Simplon BP Regular" pitchFamily="2" charset="0"/>
            </a:endParaRPr>
          </a:p>
          <a:p>
            <a:r>
              <a:rPr lang="pt-BR" sz="1100" dirty="0" smtClean="0">
                <a:latin typeface="Simplon BP Regular" pitchFamily="2" charset="0"/>
              </a:rPr>
              <a:t>	- Fraude </a:t>
            </a:r>
            <a:r>
              <a:rPr lang="pt-BR" sz="1100" dirty="0">
                <a:latin typeface="Simplon BP Regular" pitchFamily="2" charset="0"/>
              </a:rPr>
              <a:t>IRSF / PRS: </a:t>
            </a:r>
            <a:r>
              <a:rPr lang="pt-BR" sz="1100" dirty="0" smtClean="0">
                <a:latin typeface="Simplon BP Regular" pitchFamily="2" charset="0"/>
              </a:rPr>
              <a:t>(</a:t>
            </a:r>
            <a:r>
              <a:rPr lang="pt-BR" sz="1100" dirty="0">
                <a:latin typeface="Simplon BP Regular" pitchFamily="2" charset="0"/>
              </a:rPr>
              <a:t>números </a:t>
            </a:r>
            <a:r>
              <a:rPr lang="pt-BR" sz="1100" dirty="0" err="1">
                <a:latin typeface="Simplon BP Regular" pitchFamily="2" charset="0"/>
              </a:rPr>
              <a:t>premium</a:t>
            </a:r>
            <a:r>
              <a:rPr lang="pt-BR" sz="1100" dirty="0" smtClean="0">
                <a:latin typeface="Simplon BP Regular" pitchFamily="2" charset="0"/>
              </a:rPr>
              <a:t>)</a:t>
            </a:r>
            <a:endParaRPr lang="pt-BR" sz="1100" dirty="0">
              <a:latin typeface="Simplon BP Regular" pitchFamily="2" charset="0"/>
            </a:endParaRPr>
          </a:p>
          <a:p>
            <a:r>
              <a:rPr lang="pt-BR" sz="1100" dirty="0" smtClean="0">
                <a:latin typeface="Simplon BP Regular" pitchFamily="2" charset="0"/>
              </a:rPr>
              <a:t>	- Fraude </a:t>
            </a:r>
            <a:r>
              <a:rPr lang="pt-BR" sz="1100" dirty="0" err="1" smtClean="0">
                <a:latin typeface="Simplon BP Regular" pitchFamily="2" charset="0"/>
              </a:rPr>
              <a:t>Bypass</a:t>
            </a:r>
            <a:r>
              <a:rPr lang="pt-BR" sz="1100" dirty="0" smtClean="0">
                <a:latin typeface="Simplon BP Regular" pitchFamily="2" charset="0"/>
              </a:rPr>
              <a:t> e Tráfego zero</a:t>
            </a:r>
            <a:endParaRPr lang="pt-BR" sz="1100" dirty="0">
              <a:latin typeface="Simplon BP Regular" pitchFamily="2" charset="0"/>
            </a:endParaRPr>
          </a:p>
          <a:p>
            <a:r>
              <a:rPr lang="pt-BR" sz="1100" dirty="0">
                <a:latin typeface="Simplon BP Regular" pitchFamily="2" charset="0"/>
              </a:rPr>
              <a:t>	</a:t>
            </a:r>
            <a:r>
              <a:rPr lang="pt-BR" sz="1100" dirty="0" smtClean="0">
                <a:latin typeface="Simplon BP Regular" pitchFamily="2" charset="0"/>
              </a:rPr>
              <a:t>- Fraude </a:t>
            </a:r>
            <a:r>
              <a:rPr lang="pt-BR" sz="1100" dirty="0">
                <a:latin typeface="Simplon BP Regular" pitchFamily="2" charset="0"/>
              </a:rPr>
              <a:t>Pré-pago: </a:t>
            </a:r>
            <a:r>
              <a:rPr lang="pt-BR" sz="1100" dirty="0" smtClean="0">
                <a:latin typeface="Simplon BP Regular" pitchFamily="2" charset="0"/>
              </a:rPr>
              <a:t>Recargas </a:t>
            </a:r>
            <a:r>
              <a:rPr lang="pt-BR" sz="1100" dirty="0">
                <a:latin typeface="Simplon BP Regular" pitchFamily="2" charset="0"/>
              </a:rPr>
              <a:t>fraudulentas e análise </a:t>
            </a:r>
            <a:r>
              <a:rPr lang="pt-BR" sz="1100" dirty="0" smtClean="0">
                <a:latin typeface="Simplon BP Regular" pitchFamily="2" charset="0"/>
              </a:rPr>
              <a:t>de bônus</a:t>
            </a:r>
          </a:p>
          <a:p>
            <a:r>
              <a:rPr lang="pt-BR" sz="1100" dirty="0" smtClean="0">
                <a:latin typeface="Simplon BP Regular" pitchFamily="2" charset="0"/>
              </a:rPr>
              <a:t>	- Fraude </a:t>
            </a:r>
            <a:r>
              <a:rPr lang="pt-BR" sz="1100" dirty="0" err="1">
                <a:latin typeface="Simplon BP Regular" pitchFamily="2" charset="0"/>
              </a:rPr>
              <a:t>Hacking</a:t>
            </a:r>
            <a:r>
              <a:rPr lang="pt-BR" sz="1100" dirty="0">
                <a:latin typeface="Simplon BP Regular" pitchFamily="2" charset="0"/>
              </a:rPr>
              <a:t> de </a:t>
            </a:r>
            <a:r>
              <a:rPr lang="pt-BR" sz="1100" dirty="0" smtClean="0">
                <a:latin typeface="Simplon BP Regular" pitchFamily="2" charset="0"/>
              </a:rPr>
              <a:t>PBX</a:t>
            </a:r>
          </a:p>
          <a:p>
            <a:r>
              <a:rPr lang="pt-BR" sz="1100" dirty="0" smtClean="0">
                <a:latin typeface="Simplon BP Regular" pitchFamily="2" charset="0"/>
              </a:rPr>
              <a:t>	- Fraude </a:t>
            </a:r>
            <a:r>
              <a:rPr lang="pt-BR" sz="1100" dirty="0">
                <a:latin typeface="Simplon BP Regular" pitchFamily="2" charset="0"/>
              </a:rPr>
              <a:t>IMEI/IMSI </a:t>
            </a:r>
            <a:r>
              <a:rPr lang="pt-BR" sz="1100" dirty="0" err="1" smtClean="0">
                <a:latin typeface="Simplon BP Regular" pitchFamily="2" charset="0"/>
              </a:rPr>
              <a:t>Stuffing</a:t>
            </a:r>
            <a:endParaRPr lang="pt-BR" sz="1100" dirty="0" smtClean="0">
              <a:latin typeface="Simplon BP Regular" pitchFamily="2" charset="0"/>
            </a:endParaRPr>
          </a:p>
          <a:p>
            <a:r>
              <a:rPr lang="pt-BR" sz="1100" dirty="0">
                <a:latin typeface="Simplon BP Regular" pitchFamily="2" charset="0"/>
              </a:rPr>
              <a:t>	</a:t>
            </a:r>
            <a:r>
              <a:rPr lang="pt-BR" sz="1100" dirty="0" smtClean="0">
                <a:latin typeface="Simplon BP Regular" pitchFamily="2" charset="0"/>
              </a:rPr>
              <a:t>- Fraude </a:t>
            </a:r>
            <a:r>
              <a:rPr lang="pt-BR" sz="1100" dirty="0">
                <a:latin typeface="Simplon BP Regular" pitchFamily="2" charset="0"/>
              </a:rPr>
              <a:t>de Clonagem</a:t>
            </a:r>
            <a:r>
              <a:rPr lang="pt-BR" sz="1100" dirty="0" smtClean="0">
                <a:latin typeface="Simplon BP Regular" pitchFamily="2" charset="0"/>
              </a:rPr>
              <a:t>: Colisão e Velocidade</a:t>
            </a:r>
          </a:p>
          <a:p>
            <a:r>
              <a:rPr lang="pt-BR" sz="1100" dirty="0">
                <a:latin typeface="Simplon BP Regular" pitchFamily="2" charset="0"/>
              </a:rPr>
              <a:t>	</a:t>
            </a:r>
            <a:r>
              <a:rPr lang="pt-BR" sz="1100" dirty="0" smtClean="0">
                <a:latin typeface="Simplon BP Regular" pitchFamily="2" charset="0"/>
              </a:rPr>
              <a:t>- </a:t>
            </a:r>
            <a:r>
              <a:rPr lang="pt-BR" sz="1100" dirty="0" err="1" smtClean="0">
                <a:latin typeface="Simplon BP Regular" pitchFamily="2" charset="0"/>
              </a:rPr>
              <a:t>Hotlists</a:t>
            </a:r>
            <a:r>
              <a:rPr lang="pt-BR" sz="1100" dirty="0">
                <a:latin typeface="Simplon BP Regular" pitchFamily="2" charset="0"/>
              </a:rPr>
              <a:t>: </a:t>
            </a:r>
            <a:r>
              <a:rPr lang="pt-BR" sz="1100" dirty="0" smtClean="0">
                <a:latin typeface="Simplon BP Regular" pitchFamily="2" charset="0"/>
              </a:rPr>
              <a:t>Detecção </a:t>
            </a:r>
            <a:r>
              <a:rPr lang="pt-BR" sz="1100" dirty="0">
                <a:latin typeface="Simplon BP Regular" pitchFamily="2" charset="0"/>
              </a:rPr>
              <a:t>de situações anormais ou </a:t>
            </a:r>
            <a:r>
              <a:rPr lang="pt-BR" sz="1100" dirty="0" smtClean="0">
                <a:latin typeface="Simplon BP Regular" pitchFamily="2" charset="0"/>
              </a:rPr>
              <a:t>fraudulentas</a:t>
            </a:r>
            <a:endParaRPr lang="pt-BR" sz="1100" dirty="0">
              <a:latin typeface="Simplon BP Regular" pitchFamily="2" charset="0"/>
            </a:endParaRPr>
          </a:p>
          <a:p>
            <a:r>
              <a:rPr lang="pt-BR" sz="1100" dirty="0" smtClean="0">
                <a:latin typeface="Simplon BP Regular" pitchFamily="2" charset="0"/>
              </a:rPr>
              <a:t>	- Países </a:t>
            </a:r>
            <a:r>
              <a:rPr lang="pt-BR" sz="1100" dirty="0">
                <a:latin typeface="Simplon BP Regular" pitchFamily="2" charset="0"/>
              </a:rPr>
              <a:t>de </a:t>
            </a:r>
            <a:r>
              <a:rPr lang="pt-BR" sz="1100" dirty="0" smtClean="0">
                <a:latin typeface="Simplon BP Regular" pitchFamily="2" charset="0"/>
              </a:rPr>
              <a:t>risco</a:t>
            </a:r>
          </a:p>
          <a:p>
            <a:endParaRPr lang="pt-BR" sz="1100" dirty="0" smtClean="0">
              <a:latin typeface="Simplon BP Regular" pitchFamily="2" charset="0"/>
            </a:endParaRPr>
          </a:p>
          <a:p>
            <a:r>
              <a:rPr lang="pt-BR" sz="1100" dirty="0" smtClean="0">
                <a:latin typeface="Simplon BP Regular" pitchFamily="2" charset="0"/>
              </a:rPr>
              <a:t>Integrações internas e interfaces externas:</a:t>
            </a:r>
          </a:p>
          <a:p>
            <a:r>
              <a:rPr lang="pt-BR" sz="1100" dirty="0">
                <a:latin typeface="Simplon BP Regular" pitchFamily="2" charset="0"/>
              </a:rPr>
              <a:t>	</a:t>
            </a:r>
            <a:r>
              <a:rPr lang="pt-BR" sz="1100" dirty="0" smtClean="0">
                <a:latin typeface="Simplon BP Regular" pitchFamily="2" charset="0"/>
              </a:rPr>
              <a:t>- Data Lake </a:t>
            </a:r>
            <a:r>
              <a:rPr lang="pt-BR" sz="1100" dirty="0" err="1" smtClean="0">
                <a:latin typeface="Simplon BP Regular" pitchFamily="2" charset="0"/>
              </a:rPr>
              <a:t>Hadoop</a:t>
            </a:r>
            <a:r>
              <a:rPr lang="pt-BR" sz="1100" dirty="0" smtClean="0">
                <a:latin typeface="Simplon BP Regular" pitchFamily="2" charset="0"/>
              </a:rPr>
              <a:t>, Mediação, SIGA, ASGA, Plataformas </a:t>
            </a:r>
            <a:r>
              <a:rPr lang="pt-BR" sz="1100" dirty="0">
                <a:latin typeface="Simplon BP Regular" pitchFamily="2" charset="0"/>
              </a:rPr>
              <a:t>de </a:t>
            </a:r>
            <a:r>
              <a:rPr lang="pt-BR" sz="1100" dirty="0" smtClean="0">
                <a:latin typeface="Simplon BP Regular" pitchFamily="2" charset="0"/>
              </a:rPr>
              <a:t>Rede, 	CRM, Base </a:t>
            </a:r>
            <a:r>
              <a:rPr lang="pt-BR" sz="1100" dirty="0">
                <a:latin typeface="Simplon BP Regular" pitchFamily="2" charset="0"/>
              </a:rPr>
              <a:t>de Dados de JEC (</a:t>
            </a:r>
            <a:r>
              <a:rPr lang="pt-BR" sz="1100" dirty="0" err="1" smtClean="0">
                <a:latin typeface="Simplon BP Regular" pitchFamily="2" charset="0"/>
              </a:rPr>
              <a:t>Sisjur</a:t>
            </a:r>
            <a:r>
              <a:rPr lang="pt-BR" sz="1100" dirty="0" smtClean="0">
                <a:latin typeface="Simplon BP Regular" pitchFamily="2" charset="0"/>
              </a:rPr>
              <a:t>), Base </a:t>
            </a:r>
            <a:r>
              <a:rPr lang="pt-BR" sz="1100" dirty="0">
                <a:latin typeface="Simplon BP Regular" pitchFamily="2" charset="0"/>
              </a:rPr>
              <a:t>de atendimento </a:t>
            </a:r>
            <a:r>
              <a:rPr lang="pt-BR" sz="1100" dirty="0" smtClean="0">
                <a:latin typeface="Simplon BP Regular" pitchFamily="2" charset="0"/>
              </a:rPr>
              <a:t>DRC, 	Anatel, Arbor, SFA, </a:t>
            </a:r>
            <a:r>
              <a:rPr lang="pt-BR" sz="1100" dirty="0" err="1" smtClean="0">
                <a:latin typeface="Simplon BP Regular" pitchFamily="2" charset="0"/>
              </a:rPr>
              <a:t>Sisraf</a:t>
            </a:r>
            <a:r>
              <a:rPr lang="pt-BR" sz="1100" dirty="0" smtClean="0">
                <a:latin typeface="Simplon BP Regular" pitchFamily="2" charset="0"/>
              </a:rPr>
              <a:t>, SINN</a:t>
            </a:r>
            <a:endParaRPr lang="pt-BR" sz="1100" dirty="0">
              <a:latin typeface="Simplon BP Regula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9880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23037" y="1473815"/>
            <a:ext cx="8224063" cy="1945109"/>
          </a:xfrm>
        </p:spPr>
        <p:txBody>
          <a:bodyPr/>
          <a:lstStyle/>
          <a:p>
            <a:r>
              <a:rPr lang="en-US" i="0" dirty="0" err="1" smtClean="0"/>
              <a:t>Beneficios</a:t>
            </a:r>
            <a:r>
              <a:rPr lang="en-US" i="0" dirty="0" smtClean="0"/>
              <a:t> </a:t>
            </a:r>
            <a:r>
              <a:rPr lang="en-US" i="0" dirty="0" err="1" smtClean="0"/>
              <a:t>diretos</a:t>
            </a:r>
            <a:r>
              <a:rPr lang="en-US" i="0" dirty="0" smtClean="0"/>
              <a:t> e </a:t>
            </a:r>
            <a:r>
              <a:rPr lang="en-US" i="0" dirty="0" err="1" smtClean="0"/>
              <a:t>indiretos</a:t>
            </a:r>
            <a:endParaRPr lang="en-US" i="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>
                <a:latin typeface="Simplon BP Bold"/>
                <a:cs typeface="Simplon BP Bold"/>
              </a:rPr>
              <a:pPr/>
              <a:t>5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6" name="Text Placeholder 8"/>
          <p:cNvSpPr txBox="1">
            <a:spLocks/>
          </p:cNvSpPr>
          <p:nvPr/>
        </p:nvSpPr>
        <p:spPr>
          <a:xfrm>
            <a:off x="323036" y="2172976"/>
            <a:ext cx="6141264" cy="197992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 kern="1200" cap="none" baseline="0">
                <a:solidFill>
                  <a:srgbClr val="4D4D4D"/>
                </a:solidFill>
                <a:latin typeface="Simplon BP"/>
                <a:ea typeface="+mn-ea"/>
                <a:cs typeface="Museo Sans 300"/>
              </a:defRPr>
            </a:lvl1pPr>
            <a:lvl2pPr marL="176213" indent="-176213" algn="l" defTabSz="457200" rtl="0" eaLnBrk="1" latinLnBrk="0" hangingPunct="1">
              <a:lnSpc>
                <a:spcPts val="2000"/>
              </a:lnSpc>
              <a:spcBef>
                <a:spcPts val="900"/>
              </a:spcBef>
              <a:buSzPct val="50000"/>
              <a:buFont typeface="Arial"/>
              <a:buChar char="•"/>
              <a:tabLst/>
              <a:defRPr sz="1800" b="0" i="0" kern="1200">
                <a:solidFill>
                  <a:schemeClr val="tx1"/>
                </a:solidFill>
                <a:latin typeface="Museo Sans 300"/>
                <a:ea typeface="+mn-ea"/>
                <a:cs typeface="Museo Sans 300"/>
              </a:defRPr>
            </a:lvl2pPr>
            <a:lvl3pPr marL="91440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b="0" i="0" kern="1200">
                <a:solidFill>
                  <a:schemeClr val="tx1"/>
                </a:solidFill>
                <a:latin typeface="Museo Sans 300"/>
                <a:ea typeface="+mn-ea"/>
                <a:cs typeface="Museo Sans 300"/>
              </a:defRPr>
            </a:lvl3pPr>
            <a:lvl4pPr marL="137160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400" b="0" i="0" kern="1200">
                <a:solidFill>
                  <a:schemeClr val="tx1"/>
                </a:solidFill>
                <a:latin typeface="Museo Sans 300"/>
                <a:ea typeface="+mn-ea"/>
                <a:cs typeface="Museo Sans 300"/>
              </a:defRPr>
            </a:lvl4pPr>
            <a:lvl5pPr marL="182880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400" b="0" i="0" kern="1200">
                <a:solidFill>
                  <a:schemeClr val="tx1"/>
                </a:solidFill>
                <a:latin typeface="Museo Sans 300"/>
                <a:ea typeface="+mn-ea"/>
                <a:cs typeface="Museo Sans 30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Tx/>
              <a:buChar char="-"/>
            </a:pPr>
            <a:r>
              <a:rPr lang="en-US" dirty="0" err="1" smtClean="0"/>
              <a:t>Redução</a:t>
            </a:r>
            <a:r>
              <a:rPr lang="en-US" dirty="0" smtClean="0"/>
              <a:t> </a:t>
            </a:r>
            <a:r>
              <a:rPr lang="en-US" dirty="0"/>
              <a:t>da taxa de </a:t>
            </a:r>
            <a:r>
              <a:rPr lang="en-US" dirty="0" smtClean="0"/>
              <a:t>JEC</a:t>
            </a:r>
          </a:p>
          <a:p>
            <a:pPr marL="285750" indent="-285750">
              <a:buFontTx/>
              <a:buChar char="-"/>
            </a:pPr>
            <a:r>
              <a:rPr lang="en-US" dirty="0" err="1" smtClean="0"/>
              <a:t>Redução</a:t>
            </a:r>
            <a:r>
              <a:rPr lang="en-US" dirty="0" smtClean="0"/>
              <a:t> </a:t>
            </a:r>
            <a:r>
              <a:rPr lang="en-US" dirty="0"/>
              <a:t>de </a:t>
            </a:r>
            <a:r>
              <a:rPr lang="en-US" dirty="0" err="1"/>
              <a:t>perda</a:t>
            </a:r>
            <a:r>
              <a:rPr lang="en-US" dirty="0"/>
              <a:t> de </a:t>
            </a:r>
            <a:r>
              <a:rPr lang="en-US" dirty="0" err="1"/>
              <a:t>receita</a:t>
            </a:r>
            <a:r>
              <a:rPr lang="en-US" dirty="0"/>
              <a:t> de </a:t>
            </a:r>
            <a:r>
              <a:rPr lang="en-US" dirty="0" err="1" smtClean="0"/>
              <a:t>interconexão</a:t>
            </a:r>
            <a:endParaRPr lang="en-US" dirty="0" smtClean="0"/>
          </a:p>
          <a:p>
            <a:pPr marL="285750" indent="-285750">
              <a:buFontTx/>
              <a:buChar char="-"/>
            </a:pPr>
            <a:r>
              <a:rPr lang="en-US" dirty="0" err="1" smtClean="0"/>
              <a:t>Redução</a:t>
            </a:r>
            <a:r>
              <a:rPr lang="en-US" dirty="0" smtClean="0"/>
              <a:t> </a:t>
            </a:r>
            <a:r>
              <a:rPr lang="en-US" dirty="0"/>
              <a:t>de </a:t>
            </a:r>
            <a:r>
              <a:rPr lang="en-US" dirty="0" err="1"/>
              <a:t>ativação</a:t>
            </a:r>
            <a:r>
              <a:rPr lang="en-US" dirty="0"/>
              <a:t> e </a:t>
            </a:r>
            <a:r>
              <a:rPr lang="en-US" dirty="0" err="1"/>
              <a:t>instalação</a:t>
            </a:r>
            <a:r>
              <a:rPr lang="en-US" dirty="0"/>
              <a:t> de </a:t>
            </a:r>
            <a:r>
              <a:rPr lang="en-US" dirty="0" err="1"/>
              <a:t>produtos</a:t>
            </a:r>
            <a:r>
              <a:rPr lang="en-US" dirty="0"/>
              <a:t> </a:t>
            </a:r>
            <a:r>
              <a:rPr lang="en-US" dirty="0" err="1" smtClean="0"/>
              <a:t>indevidos</a:t>
            </a:r>
            <a:endParaRPr lang="en-US" dirty="0" smtClean="0"/>
          </a:p>
          <a:p>
            <a:pPr marL="285750" indent="-285750">
              <a:buFontTx/>
              <a:buChar char="-"/>
            </a:pPr>
            <a:r>
              <a:rPr lang="en-US" dirty="0" err="1" smtClean="0"/>
              <a:t>Aprimoramento</a:t>
            </a:r>
            <a:r>
              <a:rPr lang="en-US" dirty="0" smtClean="0"/>
              <a:t> </a:t>
            </a:r>
            <a:r>
              <a:rPr lang="en-US" dirty="0"/>
              <a:t>da </a:t>
            </a:r>
            <a:r>
              <a:rPr lang="en-US" dirty="0" err="1"/>
              <a:t>experiência</a:t>
            </a:r>
            <a:r>
              <a:rPr lang="en-US" dirty="0"/>
              <a:t> do </a:t>
            </a:r>
            <a:r>
              <a:rPr lang="en-US" dirty="0" err="1" smtClean="0"/>
              <a:t>cliente</a:t>
            </a:r>
            <a:endParaRPr lang="en-US" dirty="0" smtClean="0"/>
          </a:p>
          <a:p>
            <a:pPr marL="285750" indent="-285750">
              <a:buFontTx/>
              <a:buChar char="-"/>
            </a:pPr>
            <a:r>
              <a:rPr lang="en-US" dirty="0" err="1" smtClean="0"/>
              <a:t>Redução</a:t>
            </a:r>
            <a:r>
              <a:rPr lang="en-US" dirty="0" smtClean="0"/>
              <a:t> </a:t>
            </a:r>
            <a:r>
              <a:rPr lang="en-US" dirty="0"/>
              <a:t>da taxa de </a:t>
            </a:r>
            <a:r>
              <a:rPr lang="en-US" dirty="0" err="1"/>
              <a:t>reclamação</a:t>
            </a:r>
            <a:r>
              <a:rPr lang="en-US" dirty="0"/>
              <a:t>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redes</a:t>
            </a:r>
            <a:r>
              <a:rPr lang="en-US" dirty="0"/>
              <a:t> </a:t>
            </a:r>
            <a:r>
              <a:rPr lang="en-US" dirty="0" err="1" smtClean="0"/>
              <a:t>sociais</a:t>
            </a:r>
            <a:endParaRPr lang="en-US" dirty="0" smtClean="0"/>
          </a:p>
          <a:p>
            <a:pPr marL="285750" indent="-285750">
              <a:buFontTx/>
              <a:buChar char="-"/>
            </a:pPr>
            <a:r>
              <a:rPr lang="en-US" dirty="0" err="1" smtClean="0"/>
              <a:t>Redução</a:t>
            </a:r>
            <a:r>
              <a:rPr lang="en-US" dirty="0" smtClean="0"/>
              <a:t> </a:t>
            </a:r>
            <a:r>
              <a:rPr lang="en-US" dirty="0"/>
              <a:t>do </a:t>
            </a:r>
            <a:r>
              <a:rPr lang="en-US" dirty="0" smtClean="0"/>
              <a:t>churn</a:t>
            </a:r>
          </a:p>
          <a:p>
            <a:pPr marL="285750" indent="-285750">
              <a:buFontTx/>
              <a:buChar char="-"/>
            </a:pPr>
            <a:r>
              <a:rPr lang="en-US" dirty="0" err="1" smtClean="0"/>
              <a:t>Aumento</a:t>
            </a:r>
            <a:r>
              <a:rPr lang="en-US" dirty="0" smtClean="0"/>
              <a:t> </a:t>
            </a:r>
            <a:r>
              <a:rPr lang="en-US" dirty="0"/>
              <a:t>de </a:t>
            </a:r>
            <a:r>
              <a:rPr lang="en-US" dirty="0" err="1"/>
              <a:t>vendas</a:t>
            </a:r>
            <a:r>
              <a:rPr lang="en-US" dirty="0"/>
              <a:t> com a </a:t>
            </a:r>
            <a:r>
              <a:rPr lang="en-US" dirty="0" err="1"/>
              <a:t>redução</a:t>
            </a:r>
            <a:r>
              <a:rPr lang="en-US" dirty="0"/>
              <a:t> de </a:t>
            </a:r>
            <a:r>
              <a:rPr lang="en-US" dirty="0" err="1"/>
              <a:t>derivação</a:t>
            </a:r>
            <a:r>
              <a:rPr lang="en-US" dirty="0"/>
              <a:t> e </a:t>
            </a:r>
            <a:r>
              <a:rPr lang="en-US" dirty="0" err="1"/>
              <a:t>negação</a:t>
            </a:r>
            <a:r>
              <a:rPr lang="en-US" dirty="0"/>
              <a:t> </a:t>
            </a:r>
            <a:r>
              <a:rPr lang="en-US" dirty="0" err="1"/>
              <a:t>por</a:t>
            </a:r>
            <a:r>
              <a:rPr lang="en-US" dirty="0"/>
              <a:t> </a:t>
            </a:r>
            <a:r>
              <a:rPr lang="en-US" dirty="0" err="1"/>
              <a:t>risco</a:t>
            </a:r>
            <a:r>
              <a:rPr lang="en-US" dirty="0"/>
              <a:t> de </a:t>
            </a:r>
            <a:r>
              <a:rPr lang="en-US" dirty="0" err="1" smtClean="0"/>
              <a:t>fraude</a:t>
            </a:r>
            <a:endParaRPr lang="en-US" dirty="0" smtClean="0"/>
          </a:p>
          <a:p>
            <a:endParaRPr lang="en-US" dirty="0"/>
          </a:p>
          <a:p>
            <a:pPr>
              <a:lnSpc>
                <a:spcPct val="100000"/>
              </a:lnSpc>
              <a:defRPr/>
            </a:pPr>
            <a:endParaRPr lang="en-US" dirty="0"/>
          </a:p>
        </p:txBody>
      </p:sp>
      <p:graphicFrame>
        <p:nvGraphicFramePr>
          <p:cNvPr id="12" name="Diagrama 11"/>
          <p:cNvGraphicFramePr/>
          <p:nvPr>
            <p:extLst>
              <p:ext uri="{D42A27DB-BD31-4B8C-83A1-F6EECF244321}">
                <p14:modId xmlns:p14="http://schemas.microsoft.com/office/powerpoint/2010/main" val="3642581145"/>
              </p:ext>
            </p:extLst>
          </p:nvPr>
        </p:nvGraphicFramePr>
        <p:xfrm>
          <a:off x="6134100" y="1703076"/>
          <a:ext cx="3355725" cy="24117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426493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a 1"/>
          <p:cNvGraphicFramePr/>
          <p:nvPr>
            <p:extLst>
              <p:ext uri="{D42A27DB-BD31-4B8C-83A1-F6EECF244321}">
                <p14:modId xmlns:p14="http://schemas.microsoft.com/office/powerpoint/2010/main" val="1790445748"/>
              </p:ext>
            </p:extLst>
          </p:nvPr>
        </p:nvGraphicFramePr>
        <p:xfrm>
          <a:off x="188684" y="-146050"/>
          <a:ext cx="8955316" cy="411933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3" name="Diagrama 2"/>
          <p:cNvGraphicFramePr/>
          <p:nvPr>
            <p:extLst>
              <p:ext uri="{D42A27DB-BD31-4B8C-83A1-F6EECF244321}">
                <p14:modId xmlns:p14="http://schemas.microsoft.com/office/powerpoint/2010/main" val="2493966133"/>
              </p:ext>
            </p:extLst>
          </p:nvPr>
        </p:nvGraphicFramePr>
        <p:xfrm>
          <a:off x="159655" y="3947885"/>
          <a:ext cx="8752115" cy="4644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9" name="Title 2"/>
          <p:cNvSpPr txBox="1">
            <a:spLocks/>
          </p:cNvSpPr>
          <p:nvPr/>
        </p:nvSpPr>
        <p:spPr>
          <a:xfrm>
            <a:off x="152400" y="4442618"/>
            <a:ext cx="8229600" cy="665163"/>
          </a:xfrm>
          <a:prstGeom prst="rect">
            <a:avLst/>
          </a:prstGeom>
          <a:noFill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pt-BR" sz="4200" b="0" i="0" kern="1200" noProof="0">
                <a:solidFill>
                  <a:srgbClr val="00CEFF"/>
                </a:solidFill>
                <a:latin typeface="Simplon Oi Headline"/>
                <a:ea typeface="ＭＳ Ｐゴシック" charset="0"/>
                <a:cs typeface="Simplon Oi Headline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CEFF"/>
                </a:solidFill>
                <a:effectLst/>
                <a:uLnTx/>
                <a:uFillTx/>
                <a:latin typeface="Simplon Oi Headline"/>
                <a:ea typeface="ＭＳ Ｐゴシック" charset="0"/>
              </a:rPr>
              <a:t>Roadmap raid-</a:t>
            </a:r>
            <a:r>
              <a:rPr kumimoji="0" lang="en-US" sz="42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CEFF"/>
                </a:solidFill>
                <a:effectLst/>
                <a:uLnTx/>
                <a:uFillTx/>
                <a:latin typeface="Simplon Oi Headline"/>
                <a:ea typeface="ＭＳ Ｐゴシック" charset="0"/>
              </a:rPr>
              <a:t>fms</a:t>
            </a:r>
            <a:r>
              <a:rPr kumimoji="0" lang="en-US" sz="4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CEFF"/>
                </a:solidFill>
                <a:effectLst/>
                <a:uLnTx/>
                <a:uFillTx/>
                <a:latin typeface="Simplon Oi Headline"/>
                <a:ea typeface="ＭＳ Ｐゴシック" charset="0"/>
              </a:rPr>
              <a:t> (draft 1)</a:t>
            </a:r>
            <a:endParaRPr kumimoji="0" lang="en-US" sz="4200" b="0" i="0" u="none" strike="noStrike" kern="1200" cap="none" spc="0" normalizeH="0" baseline="0" noProof="0" dirty="0">
              <a:ln>
                <a:noFill/>
              </a:ln>
              <a:solidFill>
                <a:srgbClr val="00CEFF"/>
              </a:solidFill>
              <a:effectLst/>
              <a:uLnTx/>
              <a:uFillTx/>
              <a:latin typeface="Simplon Oi Headline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9694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a 1"/>
          <p:cNvGraphicFramePr/>
          <p:nvPr>
            <p:extLst>
              <p:ext uri="{D42A27DB-BD31-4B8C-83A1-F6EECF244321}">
                <p14:modId xmlns:p14="http://schemas.microsoft.com/office/powerpoint/2010/main" val="3950414893"/>
              </p:ext>
            </p:extLst>
          </p:nvPr>
        </p:nvGraphicFramePr>
        <p:xfrm>
          <a:off x="188684" y="-146050"/>
          <a:ext cx="8955316" cy="411933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3" name="Diagrama 2"/>
          <p:cNvGraphicFramePr/>
          <p:nvPr>
            <p:extLst>
              <p:ext uri="{D42A27DB-BD31-4B8C-83A1-F6EECF244321}">
                <p14:modId xmlns:p14="http://schemas.microsoft.com/office/powerpoint/2010/main" val="1998620601"/>
              </p:ext>
            </p:extLst>
          </p:nvPr>
        </p:nvGraphicFramePr>
        <p:xfrm>
          <a:off x="159655" y="3947885"/>
          <a:ext cx="8752115" cy="4644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9" name="Title 2"/>
          <p:cNvSpPr txBox="1">
            <a:spLocks/>
          </p:cNvSpPr>
          <p:nvPr/>
        </p:nvSpPr>
        <p:spPr>
          <a:xfrm>
            <a:off x="152400" y="4442618"/>
            <a:ext cx="8229600" cy="665163"/>
          </a:xfrm>
          <a:prstGeom prst="rect">
            <a:avLst/>
          </a:prstGeom>
          <a:noFill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pt-BR" sz="4200" b="0" i="0" kern="1200" noProof="0">
                <a:solidFill>
                  <a:srgbClr val="00CEFF"/>
                </a:solidFill>
                <a:latin typeface="Simplon Oi Headline"/>
                <a:ea typeface="ＭＳ Ｐゴシック" charset="0"/>
                <a:cs typeface="Simplon Oi Headline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CEFF"/>
                </a:solidFill>
                <a:effectLst/>
                <a:uLnTx/>
                <a:uFillTx/>
                <a:latin typeface="Simplon Oi Headline"/>
                <a:ea typeface="ＭＳ Ｐゴシック" charset="0"/>
              </a:rPr>
              <a:t>Roadmap raid-</a:t>
            </a:r>
            <a:r>
              <a:rPr kumimoji="0" lang="en-US" sz="42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CEFF"/>
                </a:solidFill>
                <a:effectLst/>
                <a:uLnTx/>
                <a:uFillTx/>
                <a:latin typeface="Simplon Oi Headline"/>
                <a:ea typeface="ＭＳ Ｐゴシック" charset="0"/>
              </a:rPr>
              <a:t>fms</a:t>
            </a:r>
            <a:r>
              <a:rPr kumimoji="0" lang="en-US" sz="4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CEFF"/>
                </a:solidFill>
                <a:effectLst/>
                <a:uLnTx/>
                <a:uFillTx/>
                <a:latin typeface="Simplon Oi Headline"/>
                <a:ea typeface="ＭＳ Ｐゴシック" charset="0"/>
              </a:rPr>
              <a:t> (draft 2)</a:t>
            </a:r>
            <a:endParaRPr kumimoji="0" lang="en-US" sz="4200" b="0" i="0" u="none" strike="noStrike" kern="1200" cap="none" spc="0" normalizeH="0" baseline="0" noProof="0" dirty="0">
              <a:ln>
                <a:noFill/>
              </a:ln>
              <a:solidFill>
                <a:srgbClr val="00CEFF"/>
              </a:solidFill>
              <a:effectLst/>
              <a:uLnTx/>
              <a:uFillTx/>
              <a:latin typeface="Simplon Oi Headline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3420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3"/>
          <p:cNvSpPr>
            <a:spLocks noGrp="1"/>
          </p:cNvSpPr>
          <p:nvPr>
            <p:ph type="title"/>
          </p:nvPr>
        </p:nvSpPr>
        <p:spPr>
          <a:xfrm>
            <a:off x="468313" y="78955"/>
            <a:ext cx="8207375" cy="687808"/>
          </a:xfrm>
        </p:spPr>
        <p:txBody>
          <a:bodyPr vert="horz" lIns="0" tIns="0" rIns="0" bIns="0" rtlCol="0" anchor="t">
            <a:noAutofit/>
          </a:bodyPr>
          <a:lstStyle/>
          <a:p>
            <a:pPr>
              <a:lnSpc>
                <a:spcPct val="100000"/>
              </a:lnSpc>
            </a:pPr>
            <a:r>
              <a:rPr lang="en-US" sz="3600" dirty="0" smtClean="0">
                <a:solidFill>
                  <a:srgbClr val="FF6D00"/>
                </a:solidFill>
                <a:latin typeface="Simplon Oi Headline" pitchFamily="2" charset="0"/>
              </a:rPr>
              <a:t>CRONOGRAMA MACRO </a:t>
            </a:r>
            <a:r>
              <a:rPr lang="en-US" sz="3600" dirty="0" err="1" smtClean="0">
                <a:solidFill>
                  <a:srgbClr val="FF6D00"/>
                </a:solidFill>
                <a:latin typeface="Simplon Oi Headline" pitchFamily="2" charset="0"/>
              </a:rPr>
              <a:t>onda</a:t>
            </a:r>
            <a:r>
              <a:rPr lang="en-US" sz="3600" dirty="0" smtClean="0">
                <a:solidFill>
                  <a:srgbClr val="FF6D00"/>
                </a:solidFill>
                <a:latin typeface="Simplon Oi Headline" pitchFamily="2" charset="0"/>
              </a:rPr>
              <a:t> 1 (PT WEDO)</a:t>
            </a:r>
            <a:endParaRPr lang="en-US" sz="3600" dirty="0">
              <a:solidFill>
                <a:srgbClr val="FF6D00"/>
              </a:solidFill>
              <a:latin typeface="Simplon Oi Headline" pitchFamily="2" charset="0"/>
            </a:endParaRPr>
          </a:p>
        </p:txBody>
      </p:sp>
      <p:pic>
        <p:nvPicPr>
          <p:cNvPr id="469" name="Imagem 46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187" y="900113"/>
            <a:ext cx="8920579" cy="2681288"/>
          </a:xfrm>
          <a:prstGeom prst="rect">
            <a:avLst/>
          </a:prstGeom>
        </p:spPr>
      </p:pic>
      <p:sp>
        <p:nvSpPr>
          <p:cNvPr id="470" name="Retângulo 469"/>
          <p:cNvSpPr/>
          <p:nvPr/>
        </p:nvSpPr>
        <p:spPr>
          <a:xfrm>
            <a:off x="146050" y="3670301"/>
            <a:ext cx="8509000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>
                <a:latin typeface="Simplon BP Regular" pitchFamily="2" charset="0"/>
              </a:rPr>
              <a:t>Para o cumprimento dos prazos a </a:t>
            </a:r>
            <a:r>
              <a:rPr lang="pt-BR" sz="1200" dirty="0" err="1">
                <a:latin typeface="Simplon BP Regular" pitchFamily="2" charset="0"/>
              </a:rPr>
              <a:t>WeDo</a:t>
            </a:r>
            <a:r>
              <a:rPr lang="pt-BR" sz="1200" dirty="0">
                <a:latin typeface="Simplon BP Regular" pitchFamily="2" charset="0"/>
              </a:rPr>
              <a:t> assumiu as seguintes premissas com relação aos servidores: </a:t>
            </a:r>
          </a:p>
          <a:p>
            <a:pPr marL="171450" indent="-171450">
              <a:buFontTx/>
              <a:buChar char="-"/>
            </a:pPr>
            <a:r>
              <a:rPr lang="pt-BR" sz="1200" dirty="0" smtClean="0">
                <a:latin typeface="Simplon BP Regular" pitchFamily="2" charset="0"/>
              </a:rPr>
              <a:t>Servidor </a:t>
            </a:r>
            <a:r>
              <a:rPr lang="pt-BR" sz="1200" dirty="0">
                <a:latin typeface="Simplon BP Regular" pitchFamily="2" charset="0"/>
              </a:rPr>
              <a:t>de Desenvolvimento: disponível ao término da etapa de “Plano de Gerenciamento do Projeto” (indicado com a letra “D” no cronograma). </a:t>
            </a:r>
          </a:p>
          <a:p>
            <a:pPr marL="171450" indent="-171450">
              <a:buFontTx/>
              <a:buChar char="-"/>
            </a:pPr>
            <a:r>
              <a:rPr lang="pt-BR" sz="1200" dirty="0" smtClean="0">
                <a:latin typeface="Simplon BP Regular" pitchFamily="2" charset="0"/>
              </a:rPr>
              <a:t>Servidor </a:t>
            </a:r>
            <a:r>
              <a:rPr lang="pt-BR" sz="1200" dirty="0">
                <a:latin typeface="Simplon BP Regular" pitchFamily="2" charset="0"/>
              </a:rPr>
              <a:t>de Homologação: disponível em até 3 semanas após a entrega do servidor de desenvolvimento (indicado com a letra “H” no cronograma). </a:t>
            </a:r>
          </a:p>
          <a:p>
            <a:pPr marL="171450" indent="-171450">
              <a:buFontTx/>
              <a:buChar char="-"/>
            </a:pPr>
            <a:r>
              <a:rPr lang="pt-BR" sz="1200" dirty="0" smtClean="0">
                <a:latin typeface="Simplon BP Regular" pitchFamily="2" charset="0"/>
              </a:rPr>
              <a:t>Servidor </a:t>
            </a:r>
            <a:r>
              <a:rPr lang="pt-BR" sz="1200" dirty="0">
                <a:latin typeface="Simplon BP Regular" pitchFamily="2" charset="0"/>
              </a:rPr>
              <a:t>de Produção: disponível em até 3 semanas após a entrega do servidor de homologação (indicado com a letra “P” no cronograma)</a:t>
            </a:r>
          </a:p>
        </p:txBody>
      </p:sp>
    </p:spTree>
    <p:extLst>
      <p:ext uri="{BB962C8B-B14F-4D97-AF65-F5344CB8AC3E}">
        <p14:creationId xmlns:p14="http://schemas.microsoft.com/office/powerpoint/2010/main" val="4161917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Rodapé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9</a:t>
            </a:fld>
            <a:endParaRPr lang="pt-BR" dirty="0"/>
          </a:p>
        </p:txBody>
      </p:sp>
      <p:sp>
        <p:nvSpPr>
          <p:cNvPr id="5" name="Rectangle 36"/>
          <p:cNvSpPr/>
          <p:nvPr/>
        </p:nvSpPr>
        <p:spPr>
          <a:xfrm>
            <a:off x="4610507" y="3126897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INTEGRAÇÔES TI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Eduardo </a:t>
            </a: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D.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14" name="Rectangle 13"/>
          <p:cNvSpPr>
            <a:spLocks noChangeArrowheads="1"/>
          </p:cNvSpPr>
          <p:nvPr/>
        </p:nvSpPr>
        <p:spPr bwMode="auto">
          <a:xfrm>
            <a:off x="561574" y="891169"/>
            <a:ext cx="6691573" cy="360000"/>
          </a:xfrm>
          <a:prstGeom prst="rect">
            <a:avLst/>
          </a:prstGeom>
          <a:solidFill>
            <a:srgbClr val="FF6D00"/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lvl="0"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200" kern="0" dirty="0">
                <a:solidFill>
                  <a:srgbClr val="FFFFFF"/>
                </a:solidFill>
                <a:latin typeface="Simplon BP Regular"/>
                <a:cs typeface="Simplon BP Regular"/>
              </a:rPr>
              <a:t>SPONSOR</a:t>
            </a:r>
          </a:p>
          <a:p>
            <a:pPr lvl="0"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200" kern="0" dirty="0">
                <a:solidFill>
                  <a:srgbClr val="FFFFFF"/>
                </a:solidFill>
                <a:latin typeface="Simplon BP Regular"/>
                <a:cs typeface="Simplon BP Regular"/>
              </a:rPr>
              <a:t>Gaspar </a:t>
            </a:r>
            <a:r>
              <a:rPr lang="pt-BR" sz="1200" kern="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Carreira / André </a:t>
            </a:r>
            <a:r>
              <a:rPr lang="pt-BR" sz="1200" kern="0" dirty="0" err="1" smtClean="0">
                <a:solidFill>
                  <a:srgbClr val="FFFFFF"/>
                </a:solidFill>
                <a:latin typeface="Simplon BP Regular"/>
                <a:cs typeface="Simplon BP Regular"/>
              </a:rPr>
              <a:t>Ituassú</a:t>
            </a:r>
            <a:endParaRPr lang="pt-BR" sz="1200" kern="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Rectangle 8"/>
          <p:cNvSpPr>
            <a:spLocks noChangeArrowheads="1"/>
          </p:cNvSpPr>
          <p:nvPr/>
        </p:nvSpPr>
        <p:spPr bwMode="auto">
          <a:xfrm>
            <a:off x="3256467" y="2622144"/>
            <a:ext cx="1296000" cy="360000"/>
          </a:xfrm>
          <a:prstGeom prst="rect">
            <a:avLst/>
          </a:prstGeom>
          <a:solidFill>
            <a:srgbClr val="FF6D00"/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>
                <a:solidFill>
                  <a:srgbClr val="FFFFFF"/>
                </a:solidFill>
                <a:latin typeface="Simplon BP Regular"/>
                <a:cs typeface="Simplon BP Regular"/>
              </a:rPr>
              <a:t>ARQUITETURA </a:t>
            </a:r>
            <a:r>
              <a:rPr lang="pt-BR" sz="1100" kern="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SOLUÇ</a:t>
            </a:r>
            <a:endParaRPr lang="pt-BR" sz="1100" kern="0" dirty="0">
              <a:solidFill>
                <a:srgbClr val="FFFFFF"/>
              </a:solidFill>
              <a:latin typeface="Simplon BP Regular"/>
              <a:cs typeface="Simplon BP Regular"/>
            </a:endParaRP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Andrino Soares</a:t>
            </a:r>
            <a:endParaRPr lang="pt-BR" sz="1100" kern="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6" name="Rectangle 8"/>
          <p:cNvSpPr>
            <a:spLocks noChangeArrowheads="1"/>
          </p:cNvSpPr>
          <p:nvPr/>
        </p:nvSpPr>
        <p:spPr bwMode="auto">
          <a:xfrm>
            <a:off x="4610507" y="1777314"/>
            <a:ext cx="2642641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COORDENAÇÃO </a:t>
            </a: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T</a:t>
            </a:r>
            <a:r>
              <a:rPr lang="es-ES_tradnl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ÉCNICA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Leandro Frossard</a:t>
            </a:r>
          </a:p>
        </p:txBody>
      </p:sp>
      <p:sp>
        <p:nvSpPr>
          <p:cNvPr id="17" name="Rectangle 8"/>
          <p:cNvSpPr>
            <a:spLocks noChangeArrowheads="1"/>
          </p:cNvSpPr>
          <p:nvPr/>
        </p:nvSpPr>
        <p:spPr bwMode="auto">
          <a:xfrm>
            <a:off x="3256467" y="1777314"/>
            <a:ext cx="1296000" cy="360000"/>
          </a:xfrm>
          <a:prstGeom prst="rect">
            <a:avLst/>
          </a:prstGeom>
          <a:solidFill>
            <a:srgbClr val="FF6D00"/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PMO</a:t>
            </a:r>
            <a:endParaRPr lang="pt-BR" sz="1100" kern="0" dirty="0">
              <a:solidFill>
                <a:srgbClr val="FFFFFF"/>
              </a:solidFill>
              <a:latin typeface="Simplon BP Regular"/>
              <a:cs typeface="Simplon BP Regular"/>
            </a:endParaRP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Adriana Dias 3con</a:t>
            </a:r>
            <a:endParaRPr lang="pt-BR" sz="1100" kern="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Rectangle 30"/>
          <p:cNvSpPr/>
          <p:nvPr/>
        </p:nvSpPr>
        <p:spPr>
          <a:xfrm>
            <a:off x="5972623" y="2221429"/>
            <a:ext cx="1280524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Planej. </a:t>
            </a: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INFRA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Paulo Lyra/Fabian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Rectangle 36"/>
          <p:cNvSpPr/>
          <p:nvPr/>
        </p:nvSpPr>
        <p:spPr>
          <a:xfrm>
            <a:off x="4610507" y="2221429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err="1" smtClean="0">
                <a:solidFill>
                  <a:srgbClr val="FF6D00"/>
                </a:solidFill>
                <a:latin typeface="Simplon BP Regular"/>
                <a:cs typeface="Simplon BP Regular"/>
              </a:rPr>
              <a:t>Soluç</a:t>
            </a: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 AF/Migração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Antonio Carlos</a:t>
            </a:r>
          </a:p>
        </p:txBody>
      </p:sp>
      <p:sp>
        <p:nvSpPr>
          <p:cNvPr id="20" name="Rectangle 8"/>
          <p:cNvSpPr>
            <a:spLocks noChangeArrowheads="1"/>
          </p:cNvSpPr>
          <p:nvPr/>
        </p:nvSpPr>
        <p:spPr bwMode="auto">
          <a:xfrm>
            <a:off x="561130" y="1329411"/>
            <a:ext cx="3272881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Direção Funcional / Negócios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Hugo Martins / Cezar Fernandes</a:t>
            </a:r>
          </a:p>
        </p:txBody>
      </p:sp>
      <p:sp>
        <p:nvSpPr>
          <p:cNvPr id="21" name="Rectangle 8"/>
          <p:cNvSpPr>
            <a:spLocks noChangeArrowheads="1"/>
          </p:cNvSpPr>
          <p:nvPr/>
        </p:nvSpPr>
        <p:spPr bwMode="auto">
          <a:xfrm>
            <a:off x="3256467" y="2192854"/>
            <a:ext cx="1296000" cy="360000"/>
          </a:xfrm>
          <a:prstGeom prst="rect">
            <a:avLst/>
          </a:prstGeom>
          <a:solidFill>
            <a:srgbClr val="FF6D00"/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ARQUITETURA CORP</a:t>
            </a:r>
            <a:endParaRPr lang="pt-BR" sz="1100" kern="0" dirty="0">
              <a:solidFill>
                <a:srgbClr val="FFFFFF"/>
              </a:solidFill>
              <a:latin typeface="Simplon BP Regular"/>
              <a:cs typeface="Simplon BP Regular"/>
            </a:endParaRP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>
                <a:solidFill>
                  <a:srgbClr val="FFFFFF"/>
                </a:solidFill>
                <a:latin typeface="Simplon BP Regular"/>
                <a:cs typeface="Simplon BP Regular"/>
              </a:rPr>
              <a:t>Vinicius M.</a:t>
            </a:r>
          </a:p>
        </p:txBody>
      </p:sp>
      <p:sp>
        <p:nvSpPr>
          <p:cNvPr id="22" name="CaixaDeTexto 219"/>
          <p:cNvSpPr txBox="1"/>
          <p:nvPr/>
        </p:nvSpPr>
        <p:spPr>
          <a:xfrm>
            <a:off x="582860" y="4906672"/>
            <a:ext cx="641997" cy="249748"/>
          </a:xfrm>
          <a:prstGeom prst="rect">
            <a:avLst/>
          </a:prstGeom>
          <a:noFill/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>
            <a:defPPr>
              <a:defRPr lang="en-US"/>
            </a:defPPr>
            <a:lvl1pPr marR="0" lvl="0" indent="0" algn="ctr" defTabSz="914400" fontAlgn="auto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 kumimoji="0" sz="1100" b="0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implon BP Regular"/>
                <a:ea typeface="MS Gothic" charset="-128"/>
                <a:cs typeface="Simplon BP Regular"/>
              </a:defRPr>
            </a:lvl1pPr>
          </a:lstStyle>
          <a:p>
            <a:pPr algn="l"/>
            <a:r>
              <a:rPr lang="pt-BR" sz="800" dirty="0"/>
              <a:t>Não Alocado</a:t>
            </a:r>
          </a:p>
        </p:txBody>
      </p:sp>
      <p:sp>
        <p:nvSpPr>
          <p:cNvPr id="23" name="CaixaDeTexto 220"/>
          <p:cNvSpPr txBox="1"/>
          <p:nvPr/>
        </p:nvSpPr>
        <p:spPr>
          <a:xfrm>
            <a:off x="1371375" y="4928121"/>
            <a:ext cx="1109599" cy="206851"/>
          </a:xfrm>
          <a:prstGeom prst="rect">
            <a:avLst/>
          </a:prstGeom>
          <a:noFill/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>
            <a:defPPr>
              <a:defRPr lang="en-US"/>
            </a:defPPr>
            <a:lvl1pPr marR="0" lvl="0" indent="0" defTabSz="914400" fontAlgn="auto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implon BP Regular"/>
                <a:ea typeface="MS Gothic" charset="-128"/>
                <a:cs typeface="Simplon BP Regular"/>
              </a:defRPr>
            </a:lvl1pPr>
          </a:lstStyle>
          <a:p>
            <a:r>
              <a:rPr lang="pt-BR" dirty="0"/>
              <a:t>Alocação não atende</a:t>
            </a:r>
          </a:p>
        </p:txBody>
      </p:sp>
      <p:sp>
        <p:nvSpPr>
          <p:cNvPr id="25" name="Rectangle 8"/>
          <p:cNvSpPr>
            <a:spLocks noChangeArrowheads="1"/>
          </p:cNvSpPr>
          <p:nvPr/>
        </p:nvSpPr>
        <p:spPr bwMode="auto">
          <a:xfrm>
            <a:off x="561574" y="1777314"/>
            <a:ext cx="2642481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COORDENAÇÃO </a:t>
            </a:r>
            <a:r>
              <a:rPr lang="es-ES_tradnl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FUNCIONAL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Kleyton Soares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27" name="Rectangle 36"/>
          <p:cNvSpPr/>
          <p:nvPr/>
        </p:nvSpPr>
        <p:spPr>
          <a:xfrm>
            <a:off x="561575" y="2221429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PREVENÇÂO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Rodrigo Freitas</a:t>
            </a:r>
          </a:p>
        </p:txBody>
      </p:sp>
      <p:sp>
        <p:nvSpPr>
          <p:cNvPr id="28" name="Rectangle 8"/>
          <p:cNvSpPr>
            <a:spLocks noChangeArrowheads="1"/>
          </p:cNvSpPr>
          <p:nvPr/>
        </p:nvSpPr>
        <p:spPr bwMode="auto">
          <a:xfrm>
            <a:off x="7566915" y="1312693"/>
            <a:ext cx="1197673" cy="376718"/>
          </a:xfrm>
          <a:prstGeom prst="rect">
            <a:avLst/>
          </a:prstGeom>
          <a:solidFill>
            <a:srgbClr val="EA288C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b="1" kern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P RAID-FMS</a:t>
            </a:r>
            <a:endParaRPr lang="pt-BR" sz="1100" b="1" kern="0" dirty="0">
              <a:solidFill>
                <a:schemeClr val="bg1"/>
              </a:solidFill>
              <a:latin typeface="Simplon BP Regular"/>
              <a:cs typeface="Simplon BP Regular"/>
            </a:endParaRP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Placido Cavalcante</a:t>
            </a:r>
            <a:endParaRPr lang="pt-BR" sz="1100" kern="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Rectangle 8"/>
          <p:cNvSpPr>
            <a:spLocks noChangeArrowheads="1"/>
          </p:cNvSpPr>
          <p:nvPr/>
        </p:nvSpPr>
        <p:spPr bwMode="auto">
          <a:xfrm>
            <a:off x="7566915" y="891169"/>
            <a:ext cx="1197673" cy="360000"/>
          </a:xfrm>
          <a:prstGeom prst="rect">
            <a:avLst/>
          </a:prstGeom>
          <a:solidFill>
            <a:srgbClr val="EA288C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lvl="0"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100" b="1" kern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Diretoria Técnica</a:t>
            </a:r>
            <a:endParaRPr lang="pt-BR" sz="1100" b="1" kern="0" dirty="0">
              <a:solidFill>
                <a:schemeClr val="bg1"/>
              </a:solidFill>
              <a:latin typeface="Simplon BP Regular"/>
              <a:cs typeface="Simplon BP Regular"/>
            </a:endParaRPr>
          </a:p>
          <a:p>
            <a:pPr lvl="0"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100" kern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Alexsandra</a:t>
            </a:r>
            <a:endParaRPr lang="pt-BR" sz="1100" kern="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Rectangle 8"/>
          <p:cNvSpPr>
            <a:spLocks noChangeArrowheads="1"/>
          </p:cNvSpPr>
          <p:nvPr/>
        </p:nvSpPr>
        <p:spPr bwMode="auto">
          <a:xfrm>
            <a:off x="7566915" y="1777314"/>
            <a:ext cx="1197673" cy="360000"/>
          </a:xfrm>
          <a:prstGeom prst="rect">
            <a:avLst/>
          </a:prstGeom>
          <a:solidFill>
            <a:srgbClr val="EA288C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b="1" kern="0" dirty="0">
                <a:solidFill>
                  <a:schemeClr val="bg1"/>
                </a:solidFill>
                <a:latin typeface="Simplon BP Regular"/>
                <a:cs typeface="Simplon BP Regular"/>
              </a:rPr>
              <a:t>Arquiteto Funcional</a:t>
            </a: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Luiz </a:t>
            </a:r>
            <a:r>
              <a:rPr lang="pt-BR" sz="1100" kern="0" dirty="0" err="1" smtClean="0">
                <a:solidFill>
                  <a:schemeClr val="bg1"/>
                </a:solidFill>
                <a:latin typeface="Simplon BP Regular"/>
                <a:cs typeface="Simplon BP Regular"/>
              </a:rPr>
              <a:t>Bráz</a:t>
            </a:r>
            <a:r>
              <a:rPr lang="pt-BR" sz="1100" kern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PT</a:t>
            </a:r>
            <a:endParaRPr lang="pt-BR" sz="1100" kern="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Rectangle 13"/>
          <p:cNvSpPr>
            <a:spLocks noChangeArrowheads="1"/>
          </p:cNvSpPr>
          <p:nvPr/>
        </p:nvSpPr>
        <p:spPr bwMode="auto">
          <a:xfrm flipH="1">
            <a:off x="7566914" y="595405"/>
            <a:ext cx="1197672" cy="295764"/>
          </a:xfrm>
          <a:prstGeom prst="rect">
            <a:avLst/>
          </a:prstGeom>
          <a:noFill/>
          <a:ln w="12700" cmpd="sng">
            <a:noFill/>
            <a:miter lim="800000"/>
            <a:headEnd/>
            <a:tailEnd/>
          </a:ln>
          <a:effectLst/>
        </p:spPr>
        <p:txBody>
          <a:bodyPr wrap="none" lIns="36000" rIns="36000" anchor="b"/>
          <a:lstStyle/>
          <a:p>
            <a:pPr marL="0" marR="0" lvl="0" indent="0" algn="ctr" defTabSz="914400" eaLnBrk="1" fontAlgn="auto" latinLnBrk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imes New Roman" pitchFamily="30" charset="0"/>
              <a:buNone/>
              <a:tabLst/>
              <a:defRPr/>
            </a:pPr>
            <a:r>
              <a:rPr lang="pt-BR" sz="1200" b="1" kern="0" dirty="0" smtClean="0">
                <a:solidFill>
                  <a:srgbClr val="BB0F9A"/>
                </a:solidFill>
                <a:latin typeface="Simplon BP Regular"/>
                <a:cs typeface="Simplon BP Regular"/>
              </a:rPr>
              <a:t>WEDO</a:t>
            </a:r>
          </a:p>
        </p:txBody>
      </p:sp>
      <p:sp>
        <p:nvSpPr>
          <p:cNvPr id="32" name="Rectangle 8"/>
          <p:cNvSpPr>
            <a:spLocks noChangeArrowheads="1"/>
          </p:cNvSpPr>
          <p:nvPr/>
        </p:nvSpPr>
        <p:spPr bwMode="auto">
          <a:xfrm>
            <a:off x="561574" y="595405"/>
            <a:ext cx="6691573" cy="295764"/>
          </a:xfrm>
          <a:prstGeom prst="rect">
            <a:avLst/>
          </a:prstGeom>
          <a:noFill/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b"/>
          <a:lstStyle/>
          <a:p>
            <a:pPr marL="0" marR="0" lvl="0" indent="0" algn="ctr" defTabSz="914400" eaLnBrk="1" fontAlgn="auto" latinLnBrk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lang="es-ES_tradnl" sz="1200" b="1" kern="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OI</a:t>
            </a:r>
            <a:endParaRPr kumimoji="0" lang="pt-BR" sz="1200" b="1" i="0" u="none" strike="noStrike" kern="0" cap="none" spc="0" normalizeH="0" baseline="0" noProof="0" dirty="0" smtClean="0">
              <a:ln>
                <a:noFill/>
              </a:ln>
              <a:solidFill>
                <a:srgbClr val="FF6D00"/>
              </a:solidFill>
              <a:effectLst/>
              <a:uLnTx/>
              <a:uFillTx/>
              <a:latin typeface="Simplon BP Regular"/>
              <a:cs typeface="Simplon BP Regular"/>
            </a:endParaRPr>
          </a:p>
        </p:txBody>
      </p:sp>
      <p:sp>
        <p:nvSpPr>
          <p:cNvPr id="33" name="Elipse 217"/>
          <p:cNvSpPr/>
          <p:nvPr/>
        </p:nvSpPr>
        <p:spPr>
          <a:xfrm>
            <a:off x="457200" y="4959546"/>
            <a:ext cx="144000" cy="144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36000" tIns="36000" rIns="36000" bIns="36000" anchor="ctr">
            <a:normAutofit fontScale="25000" lnSpcReduction="20000"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1200" kern="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4" name="Elipse 222"/>
          <p:cNvSpPr/>
          <p:nvPr/>
        </p:nvSpPr>
        <p:spPr>
          <a:xfrm>
            <a:off x="1250015" y="4959546"/>
            <a:ext cx="144000" cy="14400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36000" tIns="36000" rIns="36000" bIns="36000" anchor="ctr">
            <a:normAutofit fontScale="25000" lnSpcReduction="20000"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1200" kern="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5" name="Rectangle 30"/>
          <p:cNvSpPr/>
          <p:nvPr/>
        </p:nvSpPr>
        <p:spPr>
          <a:xfrm>
            <a:off x="5976198" y="2684594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Projetos INFRA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Alexandre </a:t>
            </a: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N.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36" name="Rectangle 36"/>
          <p:cNvSpPr/>
          <p:nvPr/>
        </p:nvSpPr>
        <p:spPr>
          <a:xfrm>
            <a:off x="4610507" y="2684594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SCORE EXT. e TV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RT TV/CREDITO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37" name="Rectangle 30"/>
          <p:cNvSpPr/>
          <p:nvPr/>
        </p:nvSpPr>
        <p:spPr>
          <a:xfrm>
            <a:off x="1927266" y="2221884"/>
            <a:ext cx="1263085" cy="360001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Unidade de Venda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Debora Farias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38" name="Rectangle 36"/>
          <p:cNvSpPr/>
          <p:nvPr/>
        </p:nvSpPr>
        <p:spPr>
          <a:xfrm>
            <a:off x="561575" y="2684594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DETECÇÂO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Kleyton </a:t>
            </a: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Soares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39" name="Rectangle 30"/>
          <p:cNvSpPr/>
          <p:nvPr/>
        </p:nvSpPr>
        <p:spPr>
          <a:xfrm>
            <a:off x="5985723" y="3126897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Seg. de Sistemas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Christiano Maia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42" name="Rectangle 30"/>
          <p:cNvSpPr/>
          <p:nvPr/>
        </p:nvSpPr>
        <p:spPr>
          <a:xfrm>
            <a:off x="5985723" y="3578985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Segurança NDS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Flavio de Jesus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43" name="Rectangle 36"/>
          <p:cNvSpPr/>
          <p:nvPr/>
        </p:nvSpPr>
        <p:spPr>
          <a:xfrm>
            <a:off x="4610507" y="3578985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GESTÃO DE TESTES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Luciana Link</a:t>
            </a:r>
          </a:p>
        </p:txBody>
      </p:sp>
      <p:sp>
        <p:nvSpPr>
          <p:cNvPr id="46" name="Rectangle 30"/>
          <p:cNvSpPr/>
          <p:nvPr/>
        </p:nvSpPr>
        <p:spPr>
          <a:xfrm>
            <a:off x="5985723" y="4026123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Seg. de Intel.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Eduardo Fernandes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47" name="Rectangle 36"/>
          <p:cNvSpPr/>
          <p:nvPr/>
        </p:nvSpPr>
        <p:spPr>
          <a:xfrm>
            <a:off x="4610507" y="4026123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Infra e Operações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Judney/Antonio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57" name="Rectangle 8"/>
          <p:cNvSpPr>
            <a:spLocks noChangeArrowheads="1"/>
          </p:cNvSpPr>
          <p:nvPr/>
        </p:nvSpPr>
        <p:spPr bwMode="auto">
          <a:xfrm>
            <a:off x="3906019" y="1318977"/>
            <a:ext cx="3344889" cy="367306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Direção Técnica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Fabio Glaser / Marcio Caroso</a:t>
            </a:r>
          </a:p>
        </p:txBody>
      </p:sp>
      <p:sp>
        <p:nvSpPr>
          <p:cNvPr id="58" name="Rectangle 8"/>
          <p:cNvSpPr>
            <a:spLocks noChangeArrowheads="1"/>
          </p:cNvSpPr>
          <p:nvPr/>
        </p:nvSpPr>
        <p:spPr bwMode="auto">
          <a:xfrm>
            <a:off x="3257947" y="3056734"/>
            <a:ext cx="1296000" cy="360000"/>
          </a:xfrm>
          <a:prstGeom prst="rect">
            <a:avLst/>
          </a:prstGeom>
          <a:solidFill>
            <a:srgbClr val="FF6D00"/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>
                <a:solidFill>
                  <a:srgbClr val="FFFFFF"/>
                </a:solidFill>
                <a:latin typeface="Simplon BP Regular"/>
                <a:cs typeface="Simplon BP Regular"/>
              </a:rPr>
              <a:t>RELACIONAMENTO</a:t>
            </a: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Marcio Cesar</a:t>
            </a:r>
            <a:endParaRPr lang="pt-BR" sz="1100" kern="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62" name="Rectangle 30"/>
          <p:cNvSpPr/>
          <p:nvPr/>
        </p:nvSpPr>
        <p:spPr>
          <a:xfrm>
            <a:off x="7566915" y="2608394"/>
            <a:ext cx="1198800" cy="360000"/>
          </a:xfrm>
          <a:prstGeom prst="rect">
            <a:avLst/>
          </a:prstGeom>
          <a:solidFill>
            <a:srgbClr val="EA288C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b="1" kern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Infra/DBA</a:t>
            </a:r>
            <a:endParaRPr lang="pt-BR" sz="1100" b="1" kern="0" dirty="0">
              <a:solidFill>
                <a:schemeClr val="bg1"/>
              </a:solidFill>
              <a:latin typeface="Simplon BP Regular"/>
              <a:cs typeface="Simplon BP Regular"/>
            </a:endParaRP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Leonardo Martins</a:t>
            </a:r>
            <a:endParaRPr lang="pt-BR" sz="1100" kern="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63" name="Rectangle 30"/>
          <p:cNvSpPr/>
          <p:nvPr/>
        </p:nvSpPr>
        <p:spPr>
          <a:xfrm>
            <a:off x="7566914" y="2186870"/>
            <a:ext cx="1198800" cy="360000"/>
          </a:xfrm>
          <a:prstGeom prst="rect">
            <a:avLst/>
          </a:prstGeom>
          <a:solidFill>
            <a:srgbClr val="EA288C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b="1" kern="0" dirty="0">
                <a:solidFill>
                  <a:schemeClr val="bg1"/>
                </a:solidFill>
                <a:latin typeface="Simplon BP Regular"/>
                <a:cs typeface="Simplon BP Regular"/>
              </a:rPr>
              <a:t>Arquiteto </a:t>
            </a:r>
            <a:r>
              <a:rPr lang="pt-BR" sz="1100" b="1" kern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Técnico</a:t>
            </a: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André </a:t>
            </a:r>
            <a:r>
              <a:rPr lang="pt-BR" sz="1100" kern="0" dirty="0" err="1" smtClean="0">
                <a:solidFill>
                  <a:schemeClr val="bg1"/>
                </a:solidFill>
                <a:latin typeface="Simplon BP Regular"/>
                <a:cs typeface="Simplon BP Regular"/>
              </a:rPr>
              <a:t>Jacomino</a:t>
            </a:r>
            <a:endParaRPr lang="pt-BR" sz="1100" kern="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Rectangle 36"/>
          <p:cNvSpPr/>
          <p:nvPr/>
        </p:nvSpPr>
        <p:spPr>
          <a:xfrm>
            <a:off x="571100" y="3141794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VENDAS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TBD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Rectangle 36"/>
          <p:cNvSpPr/>
          <p:nvPr/>
        </p:nvSpPr>
        <p:spPr>
          <a:xfrm>
            <a:off x="571100" y="3598994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CRÉDITO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TBD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Rectangle 36"/>
          <p:cNvSpPr/>
          <p:nvPr/>
        </p:nvSpPr>
        <p:spPr>
          <a:xfrm>
            <a:off x="571100" y="4056194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UTC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Ariane Carla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Rectangle 30"/>
          <p:cNvSpPr/>
          <p:nvPr/>
        </p:nvSpPr>
        <p:spPr>
          <a:xfrm>
            <a:off x="1936791" y="2679082"/>
            <a:ext cx="1263085" cy="360001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Treinamento/BPO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Cezar Fernandes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55" name="Title 5"/>
          <p:cNvSpPr txBox="1">
            <a:spLocks/>
          </p:cNvSpPr>
          <p:nvPr/>
        </p:nvSpPr>
        <p:spPr>
          <a:xfrm>
            <a:off x="370662" y="229215"/>
            <a:ext cx="7897037" cy="834719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lnSpc>
                <a:spcPts val="2400"/>
              </a:lnSpc>
              <a:spcBef>
                <a:spcPts val="1100"/>
              </a:spcBef>
              <a:buNone/>
              <a:defRPr sz="2200" i="1" kern="1200">
                <a:solidFill>
                  <a:schemeClr val="tx1"/>
                </a:solidFill>
                <a:latin typeface="+mn-lt"/>
                <a:ea typeface="+mj-ea"/>
                <a:cs typeface="Arial"/>
              </a:defRPr>
            </a:lvl1pPr>
          </a:lstStyle>
          <a:p>
            <a:r>
              <a:rPr lang="en-US" sz="3600" dirty="0" err="1" smtClean="0">
                <a:solidFill>
                  <a:srgbClr val="FF6D00"/>
                </a:solidFill>
                <a:latin typeface="Simplon Oi Headline"/>
                <a:cs typeface="Simplon Oi Headline"/>
              </a:rPr>
              <a:t>Organização</a:t>
            </a:r>
            <a:r>
              <a:rPr lang="en-US" sz="3600" dirty="0" smtClean="0">
                <a:solidFill>
                  <a:srgbClr val="FF6D00"/>
                </a:solidFill>
                <a:latin typeface="Simplon Oi Headline"/>
                <a:cs typeface="Simplon Oi Headline"/>
              </a:rPr>
              <a:t> do </a:t>
            </a:r>
            <a:r>
              <a:rPr lang="en-US" sz="3600" dirty="0" err="1" smtClean="0">
                <a:solidFill>
                  <a:srgbClr val="FF6D00"/>
                </a:solidFill>
                <a:latin typeface="Simplon Oi Headline"/>
                <a:cs typeface="Simplon Oi Headline"/>
              </a:rPr>
              <a:t>Projeto</a:t>
            </a:r>
            <a:endParaRPr lang="en-US" dirty="0"/>
          </a:p>
        </p:txBody>
      </p:sp>
      <p:sp>
        <p:nvSpPr>
          <p:cNvPr id="56" name="Rectangle 8"/>
          <p:cNvSpPr>
            <a:spLocks noChangeArrowheads="1"/>
          </p:cNvSpPr>
          <p:nvPr/>
        </p:nvSpPr>
        <p:spPr bwMode="auto">
          <a:xfrm>
            <a:off x="3257947" y="3485359"/>
            <a:ext cx="1296000" cy="360000"/>
          </a:xfrm>
          <a:prstGeom prst="rect">
            <a:avLst/>
          </a:prstGeom>
          <a:solidFill>
            <a:srgbClr val="FF6D00"/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>
                <a:solidFill>
                  <a:srgbClr val="FFFFFF"/>
                </a:solidFill>
                <a:latin typeface="Simplon BP Regular"/>
                <a:cs typeface="Simplon BP Regular"/>
              </a:rPr>
              <a:t>Transição Produção</a:t>
            </a: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>
                <a:solidFill>
                  <a:srgbClr val="FFFFFF"/>
                </a:solidFill>
                <a:latin typeface="Simplon BP Regular"/>
                <a:cs typeface="Simplon BP Regular"/>
              </a:rPr>
              <a:t>Fernando Machado</a:t>
            </a:r>
          </a:p>
        </p:txBody>
      </p:sp>
      <p:sp>
        <p:nvSpPr>
          <p:cNvPr id="59" name="Rectangle 36"/>
          <p:cNvSpPr/>
          <p:nvPr/>
        </p:nvSpPr>
        <p:spPr>
          <a:xfrm>
            <a:off x="4608669" y="4458495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DATA LAKE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Thiago Jordão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45" name="Rectangle 30"/>
          <p:cNvSpPr/>
          <p:nvPr/>
        </p:nvSpPr>
        <p:spPr>
          <a:xfrm>
            <a:off x="5983885" y="4464965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 anchorCtr="1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Seg. de Acessos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Amaury Araujo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48" name="Rectangle 8"/>
          <p:cNvSpPr>
            <a:spLocks noChangeArrowheads="1"/>
          </p:cNvSpPr>
          <p:nvPr/>
        </p:nvSpPr>
        <p:spPr bwMode="auto">
          <a:xfrm>
            <a:off x="3256109" y="3924200"/>
            <a:ext cx="1296000" cy="360000"/>
          </a:xfrm>
          <a:prstGeom prst="rect">
            <a:avLst/>
          </a:prstGeom>
          <a:solidFill>
            <a:srgbClr val="FF6D00"/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TML Releases</a:t>
            </a:r>
            <a:endParaRPr lang="pt-BR" sz="1100" kern="0" dirty="0">
              <a:solidFill>
                <a:srgbClr val="FFFFFF"/>
              </a:solidFill>
              <a:latin typeface="Simplon BP Regular"/>
              <a:cs typeface="Simplon BP Regular"/>
            </a:endParaRP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Sabrina Mota</a:t>
            </a:r>
            <a:endParaRPr lang="pt-BR" sz="1100" kern="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9" name="Rectangle 36"/>
          <p:cNvSpPr/>
          <p:nvPr/>
        </p:nvSpPr>
        <p:spPr>
          <a:xfrm>
            <a:off x="1935357" y="3128939"/>
            <a:ext cx="1268698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Fraude Interna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Iran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3438662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1&quot;&gt;&lt;elem m_fUsage=&quot;1.00000000000000000000E+000&quot;&gt;&lt;m_ppcolschidx val=&quot;0&quot;/&gt;&lt;m_rgb r=&quot;e9&quot; g=&quot;d8&quot; b=&quot;1&quot;/&gt;&lt;/elem&gt;&lt;/m_vecMRU&gt;&lt;/m_mruColor&gt;&lt;m_mapectfillschemeMRU&gt;&lt;key val=&quot;4&quot;/&gt;&lt;elem&gt;&lt;m_nPartnerID val=&quot;530&quot;/&gt;&lt;m_nIndex val=&quot;2&quot;/&gt;&lt;/elem&gt;&lt;/m_mapectfillschemeMRU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&gt;&lt;m_strFormatTime&gt;%1/%y&lt;/m_strFormatTime&gt;&lt;/m_precDefault&gt;&lt;/CDefaultPrec&gt;&lt;CDefaultPrec id=&quot;3&quot;&gt;&lt;m_precDefault/&gt;&lt;/CDefaultPrec&gt;&lt;CDefaultPrec id=&quot;2&quot;&gt;&lt;m_precDefault/&gt;&lt;/CDefaultPrec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BBR0598.TP.130513.PPT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10.xml><?xml version="1.0" encoding="utf-8"?>
<a:theme xmlns:a="http://schemas.openxmlformats.org/drawingml/2006/main" name="2_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2D8F0F73-0309-4DA4-837E-9300297D75E8}"/>
    </a:ext>
  </a:extLst>
</a:theme>
</file>

<file path=ppt/theme/theme11.xml><?xml version="1.0" encoding="utf-8"?>
<a:theme xmlns:a="http://schemas.openxmlformats.org/drawingml/2006/main" name="3_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2D8F0F73-0309-4DA4-837E-9300297D75E8}"/>
    </a:ext>
  </a:extLst>
</a:theme>
</file>

<file path=ppt/theme/theme12.xml><?xml version="1.0" encoding="utf-8"?>
<a:theme xmlns:a="http://schemas.openxmlformats.org/drawingml/2006/main" name="Oi Mestre_Roxo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lIns="36000" tIns="36000" rIns="36000" bIns="36000" rtlCol="0" anchor="ctr"/>
      <a:lstStyle>
        <a:defPPr algn="ctr">
          <a:defRPr sz="140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>
        <a:ln w="19050"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0D633ACB-E436-40B5-8FC8-A0E2E76C29F1}" vid="{1803645D-E579-41F6-A920-D51F0D581FC5}"/>
    </a:ext>
  </a:extLst>
</a:theme>
</file>

<file path=ppt/theme/theme13.xml><?xml version="1.0" encoding="utf-8"?>
<a:theme xmlns:a="http://schemas.openxmlformats.org/drawingml/2006/main" name="4_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2D8F0F73-0309-4DA4-837E-9300297D75E8}"/>
    </a:ext>
  </a:extLst>
</a:theme>
</file>

<file path=ppt/theme/theme14.xml><?xml version="1.0" encoding="utf-8"?>
<a:theme xmlns:a="http://schemas.openxmlformats.org/drawingml/2006/main" name="4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15.xml><?xml version="1.0" encoding="utf-8"?>
<a:theme xmlns:a="http://schemas.openxmlformats.org/drawingml/2006/main" name="5_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2D8F0F73-0309-4DA4-837E-9300297D75E8}"/>
    </a:ext>
  </a:extLst>
</a:theme>
</file>

<file path=ppt/theme/theme16.xml><?xml version="1.0" encoding="utf-8"?>
<a:theme xmlns:a="http://schemas.openxmlformats.org/drawingml/2006/main" name="5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17.xml><?xml version="1.0" encoding="utf-8"?>
<a:theme xmlns:a="http://schemas.openxmlformats.org/drawingml/2006/main" name="7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18.xml><?xml version="1.0" encoding="utf-8"?>
<a:theme xmlns:a="http://schemas.openxmlformats.org/drawingml/2006/main" name="Bloqueio Parcial Banda Larga Fixo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lIns="36000" tIns="36000" rIns="36000" bIns="36000" rtlCol="0" anchor="ctr"/>
      <a:lstStyle>
        <a:defPPr algn="ctr">
          <a:defRPr sz="140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>
        <a:ln w="19050"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0D633ACB-E436-40B5-8FC8-A0E2E76C29F1}" vid="{F09D9C31-3427-414E-9EA0-15981CE6AB2C}"/>
    </a:ext>
  </a:extLst>
</a:theme>
</file>

<file path=ppt/theme/theme19.xml><?xml version="1.0" encoding="utf-8"?>
<a:theme xmlns:a="http://schemas.openxmlformats.org/drawingml/2006/main" name="1_Oi Mestre_Roxo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lIns="36000" tIns="36000" rIns="36000" bIns="36000" rtlCol="0" anchor="ctr"/>
      <a:lstStyle>
        <a:defPPr algn="ctr">
          <a:defRPr sz="140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>
        <a:ln w="19050"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0D633ACB-E436-40B5-8FC8-A0E2E76C29F1}" vid="{1803645D-E579-41F6-A920-D51F0D581FC5}"/>
    </a:ext>
  </a:extLst>
</a:theme>
</file>

<file path=ppt/theme/theme2.xml><?xml version="1.0" encoding="utf-8"?>
<a:theme xmlns:a="http://schemas.openxmlformats.org/drawingml/2006/main" name="Blank">
  <a:themeElements>
    <a:clrScheme name="Custom 191">
      <a:dk1>
        <a:srgbClr val="000000"/>
      </a:dk1>
      <a:lt1>
        <a:srgbClr val="FFFFFF"/>
      </a:lt1>
      <a:dk2>
        <a:srgbClr val="00474C"/>
      </a:dk2>
      <a:lt2>
        <a:srgbClr val="FFFFFF"/>
      </a:lt2>
      <a:accent1>
        <a:srgbClr val="B2DBDE"/>
      </a:accent1>
      <a:accent2>
        <a:srgbClr val="4DACB3"/>
      </a:accent2>
      <a:accent3>
        <a:srgbClr val="008892"/>
      </a:accent3>
      <a:accent4>
        <a:srgbClr val="00474C"/>
      </a:accent4>
      <a:accent5>
        <a:srgbClr val="FF6600"/>
      </a:accent5>
      <a:accent6>
        <a:srgbClr val="808080"/>
      </a:accent6>
      <a:hlink>
        <a:srgbClr val="008892"/>
      </a:hlink>
      <a:folHlink>
        <a:srgbClr val="00474C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0.xml><?xml version="1.0" encoding="utf-8"?>
<a:theme xmlns:a="http://schemas.openxmlformats.org/drawingml/2006/main" name="6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2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1_Blank">
  <a:themeElements>
    <a:clrScheme name="Custom 191">
      <a:dk1>
        <a:srgbClr val="000000"/>
      </a:dk1>
      <a:lt1>
        <a:srgbClr val="FFFFFF"/>
      </a:lt1>
      <a:dk2>
        <a:srgbClr val="00474C"/>
      </a:dk2>
      <a:lt2>
        <a:srgbClr val="FFFFFF"/>
      </a:lt2>
      <a:accent1>
        <a:srgbClr val="B2DBDE"/>
      </a:accent1>
      <a:accent2>
        <a:srgbClr val="4DACB3"/>
      </a:accent2>
      <a:accent3>
        <a:srgbClr val="008892"/>
      </a:accent3>
      <a:accent4>
        <a:srgbClr val="00474C"/>
      </a:accent4>
      <a:accent5>
        <a:srgbClr val="FF6600"/>
      </a:accent5>
      <a:accent6>
        <a:srgbClr val="808080"/>
      </a:accent6>
      <a:hlink>
        <a:srgbClr val="008892"/>
      </a:hlink>
      <a:folHlink>
        <a:srgbClr val="00474C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1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2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3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8.xml><?xml version="1.0" encoding="utf-8"?>
<a:theme xmlns:a="http://schemas.openxmlformats.org/drawingml/2006/main" name="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2D8F0F73-0309-4DA4-837E-9300297D75E8}"/>
    </a:ext>
  </a:extLst>
</a:theme>
</file>

<file path=ppt/theme/theme9.xml><?xml version="1.0" encoding="utf-8"?>
<a:theme xmlns:a="http://schemas.openxmlformats.org/drawingml/2006/main" name="1_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2D8F0F73-0309-4DA4-837E-9300297D75E8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AC82C0AC69D28145B78355A31DAD8B76" ma:contentTypeVersion="1" ma:contentTypeDescription="Crie um novo documento." ma:contentTypeScope="" ma:versionID="c9262f290b72f011e454101c02818f50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6e078010f886becc52d8153076464ff7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63112BB5-BFCB-4014-A61A-9526562E322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91AB35F4-13D5-4EF7-9906-2B17145DB26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2FE43F0-B2E4-4B8F-BB5D-28B2EAB90953}">
  <ds:schemaRefs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BBR0598.TP.130513.PPT</Template>
  <TotalTime>91367</TotalTime>
  <Words>1275</Words>
  <Application>Microsoft Office PowerPoint</Application>
  <PresentationFormat>Apresentação na tela (16:9)</PresentationFormat>
  <Paragraphs>268</Paragraphs>
  <Slides>20</Slides>
  <Notes>3</Notes>
  <HiddenSlides>6</HiddenSlides>
  <MMClips>0</MMClips>
  <ScaleCrop>false</ScaleCrop>
  <HeadingPairs>
    <vt:vector size="8" baseType="variant">
      <vt:variant>
        <vt:lpstr>Fontes usadas</vt:lpstr>
      </vt:variant>
      <vt:variant>
        <vt:i4>12</vt:i4>
      </vt:variant>
      <vt:variant>
        <vt:lpstr>Tema</vt:lpstr>
      </vt:variant>
      <vt:variant>
        <vt:i4>20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20</vt:i4>
      </vt:variant>
    </vt:vector>
  </HeadingPairs>
  <TitlesOfParts>
    <vt:vector size="53" baseType="lpstr">
      <vt:lpstr>MS Gothic</vt:lpstr>
      <vt:lpstr>ＭＳ Ｐゴシック</vt:lpstr>
      <vt:lpstr>Arial</vt:lpstr>
      <vt:lpstr>Calibri</vt:lpstr>
      <vt:lpstr>Georgia</vt:lpstr>
      <vt:lpstr>Museo Sans 300</vt:lpstr>
      <vt:lpstr>Simplon BP</vt:lpstr>
      <vt:lpstr>Simplon BP Bold</vt:lpstr>
      <vt:lpstr>Simplon BP Regular</vt:lpstr>
      <vt:lpstr>Simplon Oi Headline</vt:lpstr>
      <vt:lpstr>Times New Roman</vt:lpstr>
      <vt:lpstr>Wingdings</vt:lpstr>
      <vt:lpstr>FBBR0598.TP.130513.PPT</vt:lpstr>
      <vt:lpstr>Blank</vt:lpstr>
      <vt:lpstr>1_Blank</vt:lpstr>
      <vt:lpstr>FBBR0598.TP.130513</vt:lpstr>
      <vt:lpstr>1_FBBR0598.TP.130513</vt:lpstr>
      <vt:lpstr>2_FBBR0598.TP.130513</vt:lpstr>
      <vt:lpstr>3_FBBR0598.TP.130513</vt:lpstr>
      <vt:lpstr>Base_Azul</vt:lpstr>
      <vt:lpstr>1_Base_Azul</vt:lpstr>
      <vt:lpstr>2_Base_Azul</vt:lpstr>
      <vt:lpstr>3_Base_Azul</vt:lpstr>
      <vt:lpstr>Oi Mestre_Roxo</vt:lpstr>
      <vt:lpstr>4_Base_Azul</vt:lpstr>
      <vt:lpstr>4_FBBR0598.TP.130513</vt:lpstr>
      <vt:lpstr>5_Base_Azul</vt:lpstr>
      <vt:lpstr>5_FBBR0598.TP.130513</vt:lpstr>
      <vt:lpstr>7_FBBR0598.TP.130513</vt:lpstr>
      <vt:lpstr>Bloqueio Parcial Banda Larga Fixo</vt:lpstr>
      <vt:lpstr>1_Oi Mestre_Roxo</vt:lpstr>
      <vt:lpstr>6_FBBR0598.TP.130513</vt:lpstr>
      <vt:lpstr>Slide do think-cell</vt:lpstr>
      <vt:lpstr>Projeto novo Antifraude RAID-FMS</vt:lpstr>
      <vt:lpstr>sumário</vt:lpstr>
      <vt:lpstr>Objetivo do projeto</vt:lpstr>
      <vt:lpstr>Escopo (RESUMO PT WEDO)</vt:lpstr>
      <vt:lpstr>Beneficios diretos e indiretos</vt:lpstr>
      <vt:lpstr>Apresentação do PowerPoint</vt:lpstr>
      <vt:lpstr>Apresentação do PowerPoint</vt:lpstr>
      <vt:lpstr>CRONOGRAMA MACRO onda 1 (PT WEDO)</vt:lpstr>
      <vt:lpstr>Apresentação do PowerPoint</vt:lpstr>
      <vt:lpstr>Agenda semanal do projeto</vt:lpstr>
      <vt:lpstr>Resumo financeiro</vt:lpstr>
      <vt:lpstr>Próximos passos</vt:lpstr>
      <vt:lpstr>Arquitetura AF OI -&gt; EVOLUÇÂO RAID-FMS</vt:lpstr>
      <vt:lpstr>Arquitetura FISICA RAID-FMS (draft)</vt:lpstr>
      <vt:lpstr>Principais premissas e restrições (PT WEDO)</vt:lpstr>
      <vt:lpstr>Obrigado.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sira o título do projeto em até duas linhas</dc:title>
  <dc:creator>FutureBrand</dc:creator>
  <cp:lastModifiedBy>Leandro Marcos Frossard</cp:lastModifiedBy>
  <cp:revision>1971</cp:revision>
  <cp:lastPrinted>2017-06-29T22:57:16Z</cp:lastPrinted>
  <dcterms:created xsi:type="dcterms:W3CDTF">2013-05-14T05:19:21Z</dcterms:created>
  <dcterms:modified xsi:type="dcterms:W3CDTF">2017-10-04T18:58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C82C0AC69D28145B78355A31DAD8B76</vt:lpwstr>
  </property>
</Properties>
</file>